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av" ContentType="audio/wav"/>
  <Default Extension="wdp" ContentType="image/vnd.ms-photo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7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7.xml" ContentType="application/vnd.openxmlformats-officedocument.presentationml.slide+xml"/>
  <Override PartName="/ppt/slides/slide13.xml" ContentType="application/vnd.openxmlformats-officedocument.presentationml.slide+xml"/>
  <Override PartName="/ppt/slides/slide19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3.xml" ContentType="application/vnd.openxmlformats-officedocument.presentationml.slide+xml"/>
  <Override PartName="/ppt/slides/slide18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4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rawing2.xml" ContentType="application/vnd.ms-office.drawingml.diagramDrawing+xml"/>
  <Override PartName="/ppt/diagrams/colors3.xml" ContentType="application/vnd.openxmlformats-officedocument.drawingml.diagramColors+xml"/>
  <Override PartName="/ppt/diagrams/quickStyle3.xml" ContentType="application/vnd.openxmlformats-officedocument.drawingml.diagramStyle+xml"/>
  <Override PartName="/ppt/diagrams/layout3.xml" ContentType="application/vnd.openxmlformats-officedocument.drawingml.diagramLayout+xml"/>
  <Override PartName="/ppt/diagrams/drawing3.xml" ContentType="application/vnd.ms-office.drawingml.diagramDrawing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5"/>
  </p:notesMasterIdLst>
  <p:handoutMasterIdLst>
    <p:handoutMasterId r:id="rId36"/>
  </p:handoutMasterIdLst>
  <p:sldIdLst>
    <p:sldId id="289" r:id="rId3"/>
    <p:sldId id="287" r:id="rId4"/>
    <p:sldId id="290" r:id="rId5"/>
    <p:sldId id="292" r:id="rId6"/>
    <p:sldId id="291" r:id="rId7"/>
    <p:sldId id="337" r:id="rId8"/>
    <p:sldId id="367" r:id="rId9"/>
    <p:sldId id="318" r:id="rId10"/>
    <p:sldId id="285" r:id="rId11"/>
    <p:sldId id="339" r:id="rId12"/>
    <p:sldId id="298" r:id="rId13"/>
    <p:sldId id="373" r:id="rId14"/>
    <p:sldId id="293" r:id="rId15"/>
    <p:sldId id="304" r:id="rId16"/>
    <p:sldId id="307" r:id="rId17"/>
    <p:sldId id="364" r:id="rId18"/>
    <p:sldId id="374" r:id="rId19"/>
    <p:sldId id="346" r:id="rId20"/>
    <p:sldId id="347" r:id="rId21"/>
    <p:sldId id="348" r:id="rId22"/>
    <p:sldId id="369" r:id="rId23"/>
    <p:sldId id="368" r:id="rId24"/>
    <p:sldId id="351" r:id="rId25"/>
    <p:sldId id="354" r:id="rId26"/>
    <p:sldId id="358" r:id="rId27"/>
    <p:sldId id="370" r:id="rId28"/>
    <p:sldId id="341" r:id="rId29"/>
    <p:sldId id="340" r:id="rId30"/>
    <p:sldId id="336" r:id="rId31"/>
    <p:sldId id="372" r:id="rId32"/>
    <p:sldId id="313" r:id="rId33"/>
    <p:sldId id="345" r:id="rId3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6228"/>
    <a:srgbClr val="567731"/>
    <a:srgbClr val="005395"/>
    <a:srgbClr val="E9E9E9"/>
    <a:srgbClr val="DDDDDD"/>
    <a:srgbClr val="125486"/>
    <a:srgbClr val="ABC7E3"/>
    <a:srgbClr val="336699"/>
    <a:srgbClr val="7F7F7F"/>
    <a:srgbClr val="8064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3" autoAdjust="0"/>
    <p:restoredTop sz="78686" autoAdjust="0"/>
  </p:normalViewPr>
  <p:slideViewPr>
    <p:cSldViewPr showGuides="1">
      <p:cViewPr varScale="1">
        <p:scale>
          <a:sx n="117" d="100"/>
          <a:sy n="117" d="100"/>
        </p:scale>
        <p:origin x="1158" y="102"/>
      </p:cViewPr>
      <p:guideLst>
        <p:guide orient="horz" pos="2160"/>
        <p:guide pos="2880"/>
        <p:guide pos="2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-3696" y="-11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customXml" Target="../customXml/item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customXml" Target="../customXml/item4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43" Type="http://schemas.openxmlformats.org/officeDocument/2006/relationships/customXml" Target="../customXml/item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Relationship Id="rId4" Type="http://schemas.openxmlformats.org/officeDocument/2006/relationships/image" Target="../media/image20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image" Target="../media/image17.png"/><Relationship Id="rId4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C617E2-27B9-418D-A929-B18F5A865B92}" type="doc">
      <dgm:prSet loTypeId="urn:microsoft.com/office/officeart/2008/layout/BendingPictureBlocks" loCatId="picture" qsTypeId="urn:microsoft.com/office/officeart/2005/8/quickstyle/simple1" qsCatId="simple" csTypeId="urn:microsoft.com/office/officeart/2005/8/colors/colorful1" csCatId="colorful" phldr="1"/>
      <dgm:spPr/>
    </dgm:pt>
    <dgm:pt modelId="{D3B173B9-FB80-4C94-ACCA-7843E56E6EAE}">
      <dgm:prSet phldrT="[Text]" custT="1"/>
      <dgm:spPr/>
      <dgm:t>
        <a:bodyPr/>
        <a:lstStyle/>
        <a:p>
          <a:r>
            <a:rPr lang="en-US" sz="1800" b="1" dirty="0" smtClean="0"/>
            <a:t>Measuring what matters</a:t>
          </a:r>
          <a:endParaRPr lang="en-US" sz="1800" b="1" dirty="0"/>
        </a:p>
      </dgm:t>
    </dgm:pt>
    <dgm:pt modelId="{FF69E6E0-3C08-49BF-A113-E519AD825EA6}" type="parTrans" cxnId="{556065C5-42DB-4965-9333-3E902EA6CBD9}">
      <dgm:prSet/>
      <dgm:spPr/>
      <dgm:t>
        <a:bodyPr/>
        <a:lstStyle/>
        <a:p>
          <a:endParaRPr lang="en-US"/>
        </a:p>
      </dgm:t>
    </dgm:pt>
    <dgm:pt modelId="{C25FE9EB-0A3C-470F-AB80-4BD13955B1EA}" type="sibTrans" cxnId="{556065C5-42DB-4965-9333-3E902EA6CBD9}">
      <dgm:prSet/>
      <dgm:spPr/>
      <dgm:t>
        <a:bodyPr/>
        <a:lstStyle/>
        <a:p>
          <a:endParaRPr lang="en-US"/>
        </a:p>
      </dgm:t>
    </dgm:pt>
    <dgm:pt modelId="{B8D71C34-5757-4368-9321-690A0A6B821E}">
      <dgm:prSet phldrT="[Text]" custT="1"/>
      <dgm:spPr>
        <a:solidFill>
          <a:schemeClr val="accent2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800" b="1" dirty="0" smtClean="0"/>
            <a:t>Continuously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800" b="1" dirty="0" smtClean="0"/>
            <a:t>Improving with Lean thinking &amp; tools</a:t>
          </a:r>
          <a:endParaRPr lang="en-US" sz="1800" b="1" dirty="0"/>
        </a:p>
      </dgm:t>
    </dgm:pt>
    <dgm:pt modelId="{11707DB4-24A0-4189-AE7B-F40A28F97123}" type="parTrans" cxnId="{196F57F6-9848-4831-8F19-FC5104091ADB}">
      <dgm:prSet/>
      <dgm:spPr/>
      <dgm:t>
        <a:bodyPr/>
        <a:lstStyle/>
        <a:p>
          <a:endParaRPr lang="en-US"/>
        </a:p>
      </dgm:t>
    </dgm:pt>
    <dgm:pt modelId="{E6CF0091-7462-42EE-AE7A-0D5006E50BE9}" type="sibTrans" cxnId="{196F57F6-9848-4831-8F19-FC5104091ADB}">
      <dgm:prSet/>
      <dgm:spPr/>
      <dgm:t>
        <a:bodyPr/>
        <a:lstStyle/>
        <a:p>
          <a:endParaRPr lang="en-US"/>
        </a:p>
      </dgm:t>
    </dgm:pt>
    <dgm:pt modelId="{BDAFC6AC-A978-4041-B2C2-DB2C1EEA9858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800" b="1" dirty="0" smtClean="0"/>
            <a:t>Engaging with customers</a:t>
          </a:r>
          <a:endParaRPr lang="en-US" sz="1800" b="1" dirty="0"/>
        </a:p>
      </dgm:t>
    </dgm:pt>
    <dgm:pt modelId="{0BF16DBD-FC26-4F1A-B030-EBE6C428D655}" type="parTrans" cxnId="{CA487777-C473-4615-B5E2-5DBFB887281A}">
      <dgm:prSet/>
      <dgm:spPr/>
      <dgm:t>
        <a:bodyPr/>
        <a:lstStyle/>
        <a:p>
          <a:endParaRPr lang="en-US"/>
        </a:p>
      </dgm:t>
    </dgm:pt>
    <dgm:pt modelId="{7F5D4C6A-CB46-4A3F-A6C1-863049D26EE3}" type="sibTrans" cxnId="{CA487777-C473-4615-B5E2-5DBFB887281A}">
      <dgm:prSet/>
      <dgm:spPr/>
      <dgm:t>
        <a:bodyPr/>
        <a:lstStyle/>
        <a:p>
          <a:endParaRPr lang="en-US"/>
        </a:p>
      </dgm:t>
    </dgm:pt>
    <dgm:pt modelId="{D8F65F52-318A-4C0A-B6B9-B15C5ADAA550}">
      <dgm:prSet phldrT="[Text]" custT="1"/>
      <dgm:spPr>
        <a:solidFill>
          <a:schemeClr val="accent2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800" b="1" dirty="0" smtClean="0"/>
            <a:t>Reviewing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800" b="1" dirty="0" smtClean="0"/>
            <a:t>&amp;      reporting</a:t>
          </a:r>
          <a:endParaRPr lang="en-US" sz="1800" b="1" dirty="0"/>
        </a:p>
      </dgm:t>
    </dgm:pt>
    <dgm:pt modelId="{CAEF82AB-7396-444A-81E2-8FEBEFCA158C}" type="parTrans" cxnId="{521B2458-1961-4173-BB80-048CBD513C7A}">
      <dgm:prSet/>
      <dgm:spPr/>
      <dgm:t>
        <a:bodyPr/>
        <a:lstStyle/>
        <a:p>
          <a:endParaRPr lang="en-US"/>
        </a:p>
      </dgm:t>
    </dgm:pt>
    <dgm:pt modelId="{B9ACF9F9-D562-4FD7-9299-D2BA66CDE7A6}" type="sibTrans" cxnId="{521B2458-1961-4173-BB80-048CBD513C7A}">
      <dgm:prSet/>
      <dgm:spPr/>
      <dgm:t>
        <a:bodyPr/>
        <a:lstStyle/>
        <a:p>
          <a:endParaRPr lang="en-US"/>
        </a:p>
      </dgm:t>
    </dgm:pt>
    <dgm:pt modelId="{4B6F0EE8-95A4-4870-990F-80E9DEA32D46}" type="pres">
      <dgm:prSet presAssocID="{E2C617E2-27B9-418D-A929-B18F5A865B92}" presName="Name0" presStyleCnt="0">
        <dgm:presLayoutVars>
          <dgm:dir/>
          <dgm:resizeHandles/>
        </dgm:presLayoutVars>
      </dgm:prSet>
      <dgm:spPr/>
    </dgm:pt>
    <dgm:pt modelId="{350AE306-404F-40D8-B4B4-C7365551412F}" type="pres">
      <dgm:prSet presAssocID="{D3B173B9-FB80-4C94-ACCA-7843E56E6EAE}" presName="composite" presStyleCnt="0"/>
      <dgm:spPr/>
    </dgm:pt>
    <dgm:pt modelId="{3ADD2603-CC0A-4EB3-A16E-2C070EFFBC4E}" type="pres">
      <dgm:prSet presAssocID="{D3B173B9-FB80-4C94-ACCA-7843E56E6EAE}" presName="rect1" presStyleLbl="bgImgPlace1" presStyleIdx="0" presStyleCnt="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D052648-2B79-405C-8E58-E0FB17F9E3BE}" type="pres">
      <dgm:prSet presAssocID="{D3B173B9-FB80-4C94-ACCA-7843E56E6EAE}" presName="rect2" presStyleLbl="node1" presStyleIdx="0" presStyleCnt="4" custScaleX="1129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39A0EB-A650-4CCB-91DD-93A0C1FC6DC3}" type="pres">
      <dgm:prSet presAssocID="{C25FE9EB-0A3C-470F-AB80-4BD13955B1EA}" presName="sibTrans" presStyleCnt="0"/>
      <dgm:spPr/>
    </dgm:pt>
    <dgm:pt modelId="{CDC5CF35-26D5-44B4-A281-4E079458C1A1}" type="pres">
      <dgm:prSet presAssocID="{B8D71C34-5757-4368-9321-690A0A6B821E}" presName="composite" presStyleCnt="0"/>
      <dgm:spPr/>
    </dgm:pt>
    <dgm:pt modelId="{4BC740F1-E587-4C36-951B-96F706E6A8E3}" type="pres">
      <dgm:prSet presAssocID="{B8D71C34-5757-4368-9321-690A0A6B821E}" presName="rect1" presStyleLbl="bgImgPlace1" presStyleIdx="1" presStyleCnt="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F589B3BA-AD3E-41B4-9AD1-FE4AB94C13FC}" type="pres">
      <dgm:prSet presAssocID="{B8D71C34-5757-4368-9321-690A0A6B821E}" presName="rect2" presStyleLbl="node1" presStyleIdx="1" presStyleCnt="4" custScaleX="1141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66D505-EBC7-48CC-BC05-6FA55CA19C9C}" type="pres">
      <dgm:prSet presAssocID="{E6CF0091-7462-42EE-AE7A-0D5006E50BE9}" presName="sibTrans" presStyleCnt="0"/>
      <dgm:spPr/>
    </dgm:pt>
    <dgm:pt modelId="{3CCA7F51-2031-4D89-A3BB-267819C4240B}" type="pres">
      <dgm:prSet presAssocID="{BDAFC6AC-A978-4041-B2C2-DB2C1EEA9858}" presName="composite" presStyleCnt="0"/>
      <dgm:spPr/>
    </dgm:pt>
    <dgm:pt modelId="{5BE31F8C-8422-4C4E-AEE5-DF50A97DCCDC}" type="pres">
      <dgm:prSet presAssocID="{BDAFC6AC-A978-4041-B2C2-DB2C1EEA9858}" presName="rect1" presStyleLbl="bgImgPlace1" presStyleIdx="2" presStyleCnt="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65FB7B16-E658-4D0E-9BCB-65ED2DB04BEA}" type="pres">
      <dgm:prSet presAssocID="{BDAFC6AC-A978-4041-B2C2-DB2C1EEA9858}" presName="rect2" presStyleLbl="node1" presStyleIdx="2" presStyleCnt="4" custScaleX="1058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AAC674-FCEF-4EDA-9FA8-A015D0C936FC}" type="pres">
      <dgm:prSet presAssocID="{7F5D4C6A-CB46-4A3F-A6C1-863049D26EE3}" presName="sibTrans" presStyleCnt="0"/>
      <dgm:spPr/>
    </dgm:pt>
    <dgm:pt modelId="{78F7424F-1F96-4836-B85C-2F40ED42F9B3}" type="pres">
      <dgm:prSet presAssocID="{D8F65F52-318A-4C0A-B6B9-B15C5ADAA550}" presName="composite" presStyleCnt="0"/>
      <dgm:spPr/>
    </dgm:pt>
    <dgm:pt modelId="{14F8FB0C-8676-49F6-A8B6-4CBBAFA4CF97}" type="pres">
      <dgm:prSet presAssocID="{D8F65F52-318A-4C0A-B6B9-B15C5ADAA550}" presName="rect1" presStyleLbl="b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D853EC86-447A-450A-9B3D-3C6BB1C34DAD}" type="pres">
      <dgm:prSet presAssocID="{D8F65F52-318A-4C0A-B6B9-B15C5ADAA550}" presName="rect2" presStyleLbl="node1" presStyleIdx="3" presStyleCnt="4" custScaleX="11124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56065C5-42DB-4965-9333-3E902EA6CBD9}" srcId="{E2C617E2-27B9-418D-A929-B18F5A865B92}" destId="{D3B173B9-FB80-4C94-ACCA-7843E56E6EAE}" srcOrd="0" destOrd="0" parTransId="{FF69E6E0-3C08-49BF-A113-E519AD825EA6}" sibTransId="{C25FE9EB-0A3C-470F-AB80-4BD13955B1EA}"/>
    <dgm:cxn modelId="{A0F971B1-7B77-40E4-B5C8-26CA6C0D1A21}" type="presOf" srcId="{E2C617E2-27B9-418D-A929-B18F5A865B92}" destId="{4B6F0EE8-95A4-4870-990F-80E9DEA32D46}" srcOrd="0" destOrd="0" presId="urn:microsoft.com/office/officeart/2008/layout/BendingPictureBlocks"/>
    <dgm:cxn modelId="{78F15B14-C956-4EA0-959B-2CA2D574FC22}" type="presOf" srcId="{D8F65F52-318A-4C0A-B6B9-B15C5ADAA550}" destId="{D853EC86-447A-450A-9B3D-3C6BB1C34DAD}" srcOrd="0" destOrd="0" presId="urn:microsoft.com/office/officeart/2008/layout/BendingPictureBlocks"/>
    <dgm:cxn modelId="{196F57F6-9848-4831-8F19-FC5104091ADB}" srcId="{E2C617E2-27B9-418D-A929-B18F5A865B92}" destId="{B8D71C34-5757-4368-9321-690A0A6B821E}" srcOrd="1" destOrd="0" parTransId="{11707DB4-24A0-4189-AE7B-F40A28F97123}" sibTransId="{E6CF0091-7462-42EE-AE7A-0D5006E50BE9}"/>
    <dgm:cxn modelId="{CA487777-C473-4615-B5E2-5DBFB887281A}" srcId="{E2C617E2-27B9-418D-A929-B18F5A865B92}" destId="{BDAFC6AC-A978-4041-B2C2-DB2C1EEA9858}" srcOrd="2" destOrd="0" parTransId="{0BF16DBD-FC26-4F1A-B030-EBE6C428D655}" sibTransId="{7F5D4C6A-CB46-4A3F-A6C1-863049D26EE3}"/>
    <dgm:cxn modelId="{A4470747-53B7-47CB-84C0-74AD8E2DA860}" type="presOf" srcId="{B8D71C34-5757-4368-9321-690A0A6B821E}" destId="{F589B3BA-AD3E-41B4-9AD1-FE4AB94C13FC}" srcOrd="0" destOrd="0" presId="urn:microsoft.com/office/officeart/2008/layout/BendingPictureBlocks"/>
    <dgm:cxn modelId="{65BE08AD-A95C-46E8-B767-2DA8D061B8A2}" type="presOf" srcId="{BDAFC6AC-A978-4041-B2C2-DB2C1EEA9858}" destId="{65FB7B16-E658-4D0E-9BCB-65ED2DB04BEA}" srcOrd="0" destOrd="0" presId="urn:microsoft.com/office/officeart/2008/layout/BendingPictureBlocks"/>
    <dgm:cxn modelId="{521B2458-1961-4173-BB80-048CBD513C7A}" srcId="{E2C617E2-27B9-418D-A929-B18F5A865B92}" destId="{D8F65F52-318A-4C0A-B6B9-B15C5ADAA550}" srcOrd="3" destOrd="0" parTransId="{CAEF82AB-7396-444A-81E2-8FEBEFCA158C}" sibTransId="{B9ACF9F9-D562-4FD7-9299-D2BA66CDE7A6}"/>
    <dgm:cxn modelId="{C253B449-61B2-46E5-8F4C-90257D9C23B4}" type="presOf" srcId="{D3B173B9-FB80-4C94-ACCA-7843E56E6EAE}" destId="{FD052648-2B79-405C-8E58-E0FB17F9E3BE}" srcOrd="0" destOrd="0" presId="urn:microsoft.com/office/officeart/2008/layout/BendingPictureBlocks"/>
    <dgm:cxn modelId="{2ED25A92-441E-466C-826D-BDCF45E21947}" type="presParOf" srcId="{4B6F0EE8-95A4-4870-990F-80E9DEA32D46}" destId="{350AE306-404F-40D8-B4B4-C7365551412F}" srcOrd="0" destOrd="0" presId="urn:microsoft.com/office/officeart/2008/layout/BendingPictureBlocks"/>
    <dgm:cxn modelId="{B7D6CD88-7733-4510-B28A-6F450C494638}" type="presParOf" srcId="{350AE306-404F-40D8-B4B4-C7365551412F}" destId="{3ADD2603-CC0A-4EB3-A16E-2C070EFFBC4E}" srcOrd="0" destOrd="0" presId="urn:microsoft.com/office/officeart/2008/layout/BendingPictureBlocks"/>
    <dgm:cxn modelId="{93AB3100-1C9B-4DC5-95C9-59B41FE544E8}" type="presParOf" srcId="{350AE306-404F-40D8-B4B4-C7365551412F}" destId="{FD052648-2B79-405C-8E58-E0FB17F9E3BE}" srcOrd="1" destOrd="0" presId="urn:microsoft.com/office/officeart/2008/layout/BendingPictureBlocks"/>
    <dgm:cxn modelId="{0709E1D8-B320-4E30-B3E4-74031E7329DC}" type="presParOf" srcId="{4B6F0EE8-95A4-4870-990F-80E9DEA32D46}" destId="{7539A0EB-A650-4CCB-91DD-93A0C1FC6DC3}" srcOrd="1" destOrd="0" presId="urn:microsoft.com/office/officeart/2008/layout/BendingPictureBlocks"/>
    <dgm:cxn modelId="{188DFBED-9DA4-40B9-A517-6FAE027621BD}" type="presParOf" srcId="{4B6F0EE8-95A4-4870-990F-80E9DEA32D46}" destId="{CDC5CF35-26D5-44B4-A281-4E079458C1A1}" srcOrd="2" destOrd="0" presId="urn:microsoft.com/office/officeart/2008/layout/BendingPictureBlocks"/>
    <dgm:cxn modelId="{E5AFE40F-7F4D-4CFE-95B3-6F968C0A72D6}" type="presParOf" srcId="{CDC5CF35-26D5-44B4-A281-4E079458C1A1}" destId="{4BC740F1-E587-4C36-951B-96F706E6A8E3}" srcOrd="0" destOrd="0" presId="urn:microsoft.com/office/officeart/2008/layout/BendingPictureBlocks"/>
    <dgm:cxn modelId="{F60278C8-CB6A-41D8-8837-5DE8181F5A14}" type="presParOf" srcId="{CDC5CF35-26D5-44B4-A281-4E079458C1A1}" destId="{F589B3BA-AD3E-41B4-9AD1-FE4AB94C13FC}" srcOrd="1" destOrd="0" presId="urn:microsoft.com/office/officeart/2008/layout/BendingPictureBlocks"/>
    <dgm:cxn modelId="{F58E94F6-3049-4891-A424-768B0A54CECB}" type="presParOf" srcId="{4B6F0EE8-95A4-4870-990F-80E9DEA32D46}" destId="{6F66D505-EBC7-48CC-BC05-6FA55CA19C9C}" srcOrd="3" destOrd="0" presId="urn:microsoft.com/office/officeart/2008/layout/BendingPictureBlocks"/>
    <dgm:cxn modelId="{320A7158-4CCE-42D3-80D7-50DD4ED4CCC3}" type="presParOf" srcId="{4B6F0EE8-95A4-4870-990F-80E9DEA32D46}" destId="{3CCA7F51-2031-4D89-A3BB-267819C4240B}" srcOrd="4" destOrd="0" presId="urn:microsoft.com/office/officeart/2008/layout/BendingPictureBlocks"/>
    <dgm:cxn modelId="{D003EDE1-58E3-4308-9D6D-865BFF8B44B0}" type="presParOf" srcId="{3CCA7F51-2031-4D89-A3BB-267819C4240B}" destId="{5BE31F8C-8422-4C4E-AEE5-DF50A97DCCDC}" srcOrd="0" destOrd="0" presId="urn:microsoft.com/office/officeart/2008/layout/BendingPictureBlocks"/>
    <dgm:cxn modelId="{6548C056-C692-44A9-B011-D03CDD5F5A00}" type="presParOf" srcId="{3CCA7F51-2031-4D89-A3BB-267819C4240B}" destId="{65FB7B16-E658-4D0E-9BCB-65ED2DB04BEA}" srcOrd="1" destOrd="0" presId="urn:microsoft.com/office/officeart/2008/layout/BendingPictureBlocks"/>
    <dgm:cxn modelId="{44E640E6-EE73-4354-AAC1-FDE70F29C855}" type="presParOf" srcId="{4B6F0EE8-95A4-4870-990F-80E9DEA32D46}" destId="{BCAAC674-FCEF-4EDA-9FA8-A015D0C936FC}" srcOrd="5" destOrd="0" presId="urn:microsoft.com/office/officeart/2008/layout/BendingPictureBlocks"/>
    <dgm:cxn modelId="{E12E4EFD-0EA9-454F-98FA-0FED7EFE187E}" type="presParOf" srcId="{4B6F0EE8-95A4-4870-990F-80E9DEA32D46}" destId="{78F7424F-1F96-4836-B85C-2F40ED42F9B3}" srcOrd="6" destOrd="0" presId="urn:microsoft.com/office/officeart/2008/layout/BendingPictureBlocks"/>
    <dgm:cxn modelId="{2D435A07-ED1F-4439-8F9C-90E96D248987}" type="presParOf" srcId="{78F7424F-1F96-4836-B85C-2F40ED42F9B3}" destId="{14F8FB0C-8676-49F6-A8B6-4CBBAFA4CF97}" srcOrd="0" destOrd="0" presId="urn:microsoft.com/office/officeart/2008/layout/BendingPictureBlocks"/>
    <dgm:cxn modelId="{DCC1CEAB-EA8E-46B2-AE21-986C604E5125}" type="presParOf" srcId="{78F7424F-1F96-4836-B85C-2F40ED42F9B3}" destId="{D853EC86-447A-450A-9B3D-3C6BB1C34DAD}" srcOrd="1" destOrd="0" presId="urn:microsoft.com/office/officeart/2008/layout/BendingPictureBlock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9DD58E-1505-4170-982C-BEB06F90412D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630541C-C7C8-4DB4-85EE-F5F8539495E2}">
      <dgm:prSet phldrT="[Text]"/>
      <dgm:spPr>
        <a:solidFill>
          <a:srgbClr val="125486"/>
        </a:solidFill>
      </dgm:spPr>
      <dgm:t>
        <a:bodyPr/>
        <a:lstStyle/>
        <a:p>
          <a:r>
            <a:rPr lang="en-US" dirty="0" smtClean="0"/>
            <a:t>Objective</a:t>
          </a:r>
          <a:endParaRPr lang="en-US" dirty="0"/>
        </a:p>
      </dgm:t>
    </dgm:pt>
    <dgm:pt modelId="{F8489FA2-ED02-41EA-8C59-3277D0B266B4}" type="parTrans" cxnId="{87F749CE-08F2-4A0B-A41C-EDB792EEFEAF}">
      <dgm:prSet/>
      <dgm:spPr/>
      <dgm:t>
        <a:bodyPr/>
        <a:lstStyle/>
        <a:p>
          <a:endParaRPr lang="en-US"/>
        </a:p>
      </dgm:t>
    </dgm:pt>
    <dgm:pt modelId="{A90A5CBD-F038-4640-BAED-D52C58AD342F}" type="sibTrans" cxnId="{87F749CE-08F2-4A0B-A41C-EDB792EEFEAF}">
      <dgm:prSet/>
      <dgm:spPr/>
      <dgm:t>
        <a:bodyPr/>
        <a:lstStyle/>
        <a:p>
          <a:endParaRPr lang="en-US"/>
        </a:p>
      </dgm:t>
    </dgm:pt>
    <dgm:pt modelId="{ABF19B8C-082B-41EC-B430-4C312B83DD89}">
      <dgm:prSet phldrT="[Text]" custT="1"/>
      <dgm:spPr/>
      <dgm:t>
        <a:bodyPr/>
        <a:lstStyle/>
        <a:p>
          <a:r>
            <a:rPr lang="en-US" sz="2400" b="0" dirty="0" smtClean="0"/>
            <a:t>What problem </a:t>
          </a:r>
          <a:r>
            <a:rPr lang="en-US" sz="2400" b="0" dirty="0" smtClean="0"/>
            <a:t>do </a:t>
          </a:r>
          <a:r>
            <a:rPr lang="en-US" sz="2400" b="0" dirty="0" smtClean="0"/>
            <a:t>we </a:t>
          </a:r>
          <a:r>
            <a:rPr lang="en-US" sz="2400" b="0" dirty="0" smtClean="0"/>
            <a:t>really need </a:t>
          </a:r>
          <a:r>
            <a:rPr lang="en-US" sz="2400" b="0" dirty="0" smtClean="0"/>
            <a:t>to solve?</a:t>
          </a:r>
          <a:endParaRPr lang="en-US" sz="2400" b="0" dirty="0"/>
        </a:p>
      </dgm:t>
    </dgm:pt>
    <dgm:pt modelId="{64A7E86F-DABC-45BD-8696-FEB1A4E61D87}" type="parTrans" cxnId="{FE37D814-2200-41F3-970E-35C996F84ED8}">
      <dgm:prSet/>
      <dgm:spPr/>
      <dgm:t>
        <a:bodyPr/>
        <a:lstStyle/>
        <a:p>
          <a:endParaRPr lang="en-US"/>
        </a:p>
      </dgm:t>
    </dgm:pt>
    <dgm:pt modelId="{E15C017E-AA5A-44CF-BEFC-3E8ADF82213D}" type="sibTrans" cxnId="{FE37D814-2200-41F3-970E-35C996F84ED8}">
      <dgm:prSet/>
      <dgm:spPr/>
      <dgm:t>
        <a:bodyPr/>
        <a:lstStyle/>
        <a:p>
          <a:endParaRPr lang="en-US"/>
        </a:p>
      </dgm:t>
    </dgm:pt>
    <dgm:pt modelId="{42328686-533B-41D9-8C81-638E87E6B3D2}">
      <dgm:prSet phldrT="[Text]"/>
      <dgm:spPr>
        <a:solidFill>
          <a:srgbClr val="729F42"/>
        </a:solidFill>
      </dgm:spPr>
      <dgm:t>
        <a:bodyPr/>
        <a:lstStyle/>
        <a:p>
          <a:r>
            <a:rPr lang="en-US" dirty="0" smtClean="0"/>
            <a:t>Root cause analysis</a:t>
          </a:r>
          <a:endParaRPr lang="en-US" dirty="0"/>
        </a:p>
      </dgm:t>
    </dgm:pt>
    <dgm:pt modelId="{07E86E4C-C952-4B5D-8C5D-244E3255F691}" type="parTrans" cxnId="{10AC30F0-ADAD-4DD2-833C-4BDFB14C999A}">
      <dgm:prSet/>
      <dgm:spPr/>
      <dgm:t>
        <a:bodyPr/>
        <a:lstStyle/>
        <a:p>
          <a:endParaRPr lang="en-US"/>
        </a:p>
      </dgm:t>
    </dgm:pt>
    <dgm:pt modelId="{99CECA5F-FDE6-4D6B-89B7-E91336EB999E}" type="sibTrans" cxnId="{10AC30F0-ADAD-4DD2-833C-4BDFB14C999A}">
      <dgm:prSet/>
      <dgm:spPr/>
      <dgm:t>
        <a:bodyPr/>
        <a:lstStyle/>
        <a:p>
          <a:endParaRPr lang="en-US"/>
        </a:p>
      </dgm:t>
    </dgm:pt>
    <dgm:pt modelId="{E3594CE3-E8F9-420C-8CAD-E99DF4AB6B57}">
      <dgm:prSet phldrT="[Text]" custT="1"/>
      <dgm:spPr/>
      <dgm:t>
        <a:bodyPr/>
        <a:lstStyle/>
        <a:p>
          <a:r>
            <a:rPr lang="en-US" sz="2400" b="0" dirty="0" smtClean="0"/>
            <a:t>What are the root causes of the problem?</a:t>
          </a:r>
          <a:endParaRPr lang="en-US" sz="2400" b="0" dirty="0"/>
        </a:p>
      </dgm:t>
    </dgm:pt>
    <dgm:pt modelId="{9D85C143-AF55-4F32-A2A1-9A196E10922B}" type="parTrans" cxnId="{60562F7B-3799-4018-B3EC-44B18BEB8532}">
      <dgm:prSet/>
      <dgm:spPr/>
      <dgm:t>
        <a:bodyPr/>
        <a:lstStyle/>
        <a:p>
          <a:endParaRPr lang="en-US"/>
        </a:p>
      </dgm:t>
    </dgm:pt>
    <dgm:pt modelId="{645449F6-FB6F-44DB-8C0D-1266EEC07070}" type="sibTrans" cxnId="{60562F7B-3799-4018-B3EC-44B18BEB8532}">
      <dgm:prSet/>
      <dgm:spPr/>
      <dgm:t>
        <a:bodyPr/>
        <a:lstStyle/>
        <a:p>
          <a:endParaRPr lang="en-US"/>
        </a:p>
      </dgm:t>
    </dgm:pt>
    <dgm:pt modelId="{CAA9A37A-4DE1-48ED-AFDB-4F6FDBE634A0}">
      <dgm:prSet phldrT="[Text]"/>
      <dgm:spPr>
        <a:solidFill>
          <a:srgbClr val="F96D0F"/>
        </a:solidFill>
      </dgm:spPr>
      <dgm:t>
        <a:bodyPr/>
        <a:lstStyle/>
        <a:p>
          <a:r>
            <a:rPr lang="en-US" dirty="0" smtClean="0"/>
            <a:t>Improvement plan</a:t>
          </a:r>
          <a:endParaRPr lang="en-US" dirty="0"/>
        </a:p>
      </dgm:t>
    </dgm:pt>
    <dgm:pt modelId="{D136D4CE-1999-49D9-B869-C049343BCE2F}" type="parTrans" cxnId="{D5A935EE-8644-4D58-B069-30E6B027FF1F}">
      <dgm:prSet/>
      <dgm:spPr/>
      <dgm:t>
        <a:bodyPr/>
        <a:lstStyle/>
        <a:p>
          <a:endParaRPr lang="en-US"/>
        </a:p>
      </dgm:t>
    </dgm:pt>
    <dgm:pt modelId="{05D2ECFF-798C-46B1-A6DB-7E5CDFE5C224}" type="sibTrans" cxnId="{D5A935EE-8644-4D58-B069-30E6B027FF1F}">
      <dgm:prSet/>
      <dgm:spPr/>
      <dgm:t>
        <a:bodyPr/>
        <a:lstStyle/>
        <a:p>
          <a:endParaRPr lang="en-US"/>
        </a:p>
      </dgm:t>
    </dgm:pt>
    <dgm:pt modelId="{9D5A1D15-F36C-4F23-BD19-89F489C7B9ED}">
      <dgm:prSet phldrT="[Text]" custT="1"/>
      <dgm:spPr/>
      <dgm:t>
        <a:bodyPr/>
        <a:lstStyle/>
        <a:p>
          <a:r>
            <a:rPr lang="en-US" sz="2400" b="0" dirty="0" smtClean="0"/>
            <a:t>Specific strategies and metrics</a:t>
          </a:r>
          <a:endParaRPr lang="en-US" sz="2400" b="0" dirty="0"/>
        </a:p>
      </dgm:t>
    </dgm:pt>
    <dgm:pt modelId="{B2C7FCEC-0546-489A-89D2-62B6473F8293}" type="parTrans" cxnId="{0321008B-D2DF-430B-8A84-C38A77B4BA1D}">
      <dgm:prSet/>
      <dgm:spPr/>
      <dgm:t>
        <a:bodyPr/>
        <a:lstStyle/>
        <a:p>
          <a:endParaRPr lang="en-US"/>
        </a:p>
      </dgm:t>
    </dgm:pt>
    <dgm:pt modelId="{5BD8D65B-BD30-4EFC-8CDC-A3A7CF4BBB6A}" type="sibTrans" cxnId="{0321008B-D2DF-430B-8A84-C38A77B4BA1D}">
      <dgm:prSet/>
      <dgm:spPr/>
      <dgm:t>
        <a:bodyPr/>
        <a:lstStyle/>
        <a:p>
          <a:endParaRPr lang="en-US"/>
        </a:p>
      </dgm:t>
    </dgm:pt>
    <dgm:pt modelId="{EBAB6D9B-5292-4AC9-99FD-75EC803E850B}" type="pres">
      <dgm:prSet presAssocID="{E69DD58E-1505-4170-982C-BEB06F90412D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A4B8CE53-EB3C-4B85-B205-4A4BFD824CDE}" type="pres">
      <dgm:prSet presAssocID="{C630541C-C7C8-4DB4-85EE-F5F8539495E2}" presName="composite" presStyleCnt="0"/>
      <dgm:spPr/>
    </dgm:pt>
    <dgm:pt modelId="{D469C4E0-F5B4-4738-8B4F-BBF7CFC4127C}" type="pres">
      <dgm:prSet presAssocID="{C630541C-C7C8-4DB4-85EE-F5F8539495E2}" presName="bentUpArrow1" presStyleLbl="alignImgPlace1" presStyleIdx="0" presStyleCnt="2"/>
      <dgm:spPr>
        <a:solidFill>
          <a:srgbClr val="125486"/>
        </a:solidFill>
      </dgm:spPr>
      <dgm:t>
        <a:bodyPr/>
        <a:lstStyle/>
        <a:p>
          <a:endParaRPr lang="en-US"/>
        </a:p>
      </dgm:t>
    </dgm:pt>
    <dgm:pt modelId="{08FC73A5-D6D0-4BD8-B39C-20E5AEFE7508}" type="pres">
      <dgm:prSet presAssocID="{C630541C-C7C8-4DB4-85EE-F5F8539495E2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B22B37-7F1A-483C-9216-3D36924C596E}" type="pres">
      <dgm:prSet presAssocID="{C630541C-C7C8-4DB4-85EE-F5F8539495E2}" presName="ChildText" presStyleLbl="revTx" presStyleIdx="0" presStyleCnt="3" custScaleX="235465" custScaleY="123838" custLinFactNeighborX="70060" custLinFactNeighborY="162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194356-64BB-45BA-AE7A-E9720BF6AA47}" type="pres">
      <dgm:prSet presAssocID="{A90A5CBD-F038-4640-BAED-D52C58AD342F}" presName="sibTrans" presStyleCnt="0"/>
      <dgm:spPr/>
    </dgm:pt>
    <dgm:pt modelId="{1BC0DD54-48C0-440C-A5F6-DDF66FC38BB8}" type="pres">
      <dgm:prSet presAssocID="{42328686-533B-41D9-8C81-638E87E6B3D2}" presName="composite" presStyleCnt="0"/>
      <dgm:spPr/>
    </dgm:pt>
    <dgm:pt modelId="{A424BA21-BB5B-4812-8E2E-9C88F945D4F3}" type="pres">
      <dgm:prSet presAssocID="{42328686-533B-41D9-8C81-638E87E6B3D2}" presName="bentUpArrow1" presStyleLbl="alignImgPlace1" presStyleIdx="1" presStyleCnt="2"/>
      <dgm:spPr>
        <a:solidFill>
          <a:srgbClr val="729F42"/>
        </a:solidFill>
      </dgm:spPr>
      <dgm:t>
        <a:bodyPr/>
        <a:lstStyle/>
        <a:p>
          <a:endParaRPr lang="en-US"/>
        </a:p>
      </dgm:t>
    </dgm:pt>
    <dgm:pt modelId="{1D6ED8AB-FF73-4550-9A7D-9BE8966AA528}" type="pres">
      <dgm:prSet presAssocID="{42328686-533B-41D9-8C81-638E87E6B3D2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D54860-039B-4F21-AF7A-501B0B519FA8}" type="pres">
      <dgm:prSet presAssocID="{42328686-533B-41D9-8C81-638E87E6B3D2}" presName="ChildText" presStyleLbl="revTx" presStyleIdx="1" presStyleCnt="3" custScaleX="286799" custLinFactNeighborX="98168" custLinFactNeighborY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C459C37-A9F0-4DF2-9318-8E28512372A5}" type="pres">
      <dgm:prSet presAssocID="{99CECA5F-FDE6-4D6B-89B7-E91336EB999E}" presName="sibTrans" presStyleCnt="0"/>
      <dgm:spPr/>
    </dgm:pt>
    <dgm:pt modelId="{0C3D9343-9284-478D-BF5D-AEDA5772C1CA}" type="pres">
      <dgm:prSet presAssocID="{CAA9A37A-4DE1-48ED-AFDB-4F6FDBE634A0}" presName="composite" presStyleCnt="0"/>
      <dgm:spPr/>
    </dgm:pt>
    <dgm:pt modelId="{4EC89296-2A8E-43F9-9A79-6DD4BA9B9F93}" type="pres">
      <dgm:prSet presAssocID="{CAA9A37A-4DE1-48ED-AFDB-4F6FDBE634A0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41CAB8-12CB-48B4-B11A-631975FF272F}" type="pres">
      <dgm:prSet presAssocID="{CAA9A37A-4DE1-48ED-AFDB-4F6FDBE634A0}" presName="FinalChildText" presStyleLbl="revTx" presStyleIdx="2" presStyleCnt="3" custScaleX="140176" custLinFactNeighborX="28945" custLinFactNeighborY="-377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3687A6C-507A-429C-B5A5-7CD0F9238367}" type="presOf" srcId="{C630541C-C7C8-4DB4-85EE-F5F8539495E2}" destId="{08FC73A5-D6D0-4BD8-B39C-20E5AEFE7508}" srcOrd="0" destOrd="0" presId="urn:microsoft.com/office/officeart/2005/8/layout/StepDownProcess"/>
    <dgm:cxn modelId="{D5A935EE-8644-4D58-B069-30E6B027FF1F}" srcId="{E69DD58E-1505-4170-982C-BEB06F90412D}" destId="{CAA9A37A-4DE1-48ED-AFDB-4F6FDBE634A0}" srcOrd="2" destOrd="0" parTransId="{D136D4CE-1999-49D9-B869-C049343BCE2F}" sibTransId="{05D2ECFF-798C-46B1-A6DB-7E5CDFE5C224}"/>
    <dgm:cxn modelId="{14F62AAD-9A82-43E7-AB87-A61044263D45}" type="presOf" srcId="{9D5A1D15-F36C-4F23-BD19-89F489C7B9ED}" destId="{5F41CAB8-12CB-48B4-B11A-631975FF272F}" srcOrd="0" destOrd="0" presId="urn:microsoft.com/office/officeart/2005/8/layout/StepDownProcess"/>
    <dgm:cxn modelId="{87F749CE-08F2-4A0B-A41C-EDB792EEFEAF}" srcId="{E69DD58E-1505-4170-982C-BEB06F90412D}" destId="{C630541C-C7C8-4DB4-85EE-F5F8539495E2}" srcOrd="0" destOrd="0" parTransId="{F8489FA2-ED02-41EA-8C59-3277D0B266B4}" sibTransId="{A90A5CBD-F038-4640-BAED-D52C58AD342F}"/>
    <dgm:cxn modelId="{FE37D814-2200-41F3-970E-35C996F84ED8}" srcId="{C630541C-C7C8-4DB4-85EE-F5F8539495E2}" destId="{ABF19B8C-082B-41EC-B430-4C312B83DD89}" srcOrd="0" destOrd="0" parTransId="{64A7E86F-DABC-45BD-8696-FEB1A4E61D87}" sibTransId="{E15C017E-AA5A-44CF-BEFC-3E8ADF82213D}"/>
    <dgm:cxn modelId="{58BA6FEF-AA48-4BBE-8752-F5DA58ED198A}" type="presOf" srcId="{ABF19B8C-082B-41EC-B430-4C312B83DD89}" destId="{24B22B37-7F1A-483C-9216-3D36924C596E}" srcOrd="0" destOrd="0" presId="urn:microsoft.com/office/officeart/2005/8/layout/StepDownProcess"/>
    <dgm:cxn modelId="{3244948A-92B9-4366-9313-48EDC993057F}" type="presOf" srcId="{E69DD58E-1505-4170-982C-BEB06F90412D}" destId="{EBAB6D9B-5292-4AC9-99FD-75EC803E850B}" srcOrd="0" destOrd="0" presId="urn:microsoft.com/office/officeart/2005/8/layout/StepDownProcess"/>
    <dgm:cxn modelId="{10AC30F0-ADAD-4DD2-833C-4BDFB14C999A}" srcId="{E69DD58E-1505-4170-982C-BEB06F90412D}" destId="{42328686-533B-41D9-8C81-638E87E6B3D2}" srcOrd="1" destOrd="0" parTransId="{07E86E4C-C952-4B5D-8C5D-244E3255F691}" sibTransId="{99CECA5F-FDE6-4D6B-89B7-E91336EB999E}"/>
    <dgm:cxn modelId="{DBADB743-D69E-4D13-A78B-A551D49085EF}" type="presOf" srcId="{CAA9A37A-4DE1-48ED-AFDB-4F6FDBE634A0}" destId="{4EC89296-2A8E-43F9-9A79-6DD4BA9B9F93}" srcOrd="0" destOrd="0" presId="urn:microsoft.com/office/officeart/2005/8/layout/StepDownProcess"/>
    <dgm:cxn modelId="{0321008B-D2DF-430B-8A84-C38A77B4BA1D}" srcId="{CAA9A37A-4DE1-48ED-AFDB-4F6FDBE634A0}" destId="{9D5A1D15-F36C-4F23-BD19-89F489C7B9ED}" srcOrd="0" destOrd="0" parTransId="{B2C7FCEC-0546-489A-89D2-62B6473F8293}" sibTransId="{5BD8D65B-BD30-4EFC-8CDC-A3A7CF4BBB6A}"/>
    <dgm:cxn modelId="{C53F8118-6F63-4D6B-A67C-5FF2C5E61826}" type="presOf" srcId="{42328686-533B-41D9-8C81-638E87E6B3D2}" destId="{1D6ED8AB-FF73-4550-9A7D-9BE8966AA528}" srcOrd="0" destOrd="0" presId="urn:microsoft.com/office/officeart/2005/8/layout/StepDownProcess"/>
    <dgm:cxn modelId="{60562F7B-3799-4018-B3EC-44B18BEB8532}" srcId="{42328686-533B-41D9-8C81-638E87E6B3D2}" destId="{E3594CE3-E8F9-420C-8CAD-E99DF4AB6B57}" srcOrd="0" destOrd="0" parTransId="{9D85C143-AF55-4F32-A2A1-9A196E10922B}" sibTransId="{645449F6-FB6F-44DB-8C0D-1266EEC07070}"/>
    <dgm:cxn modelId="{413C9C1B-E590-459E-AC8A-6DF494601056}" type="presOf" srcId="{E3594CE3-E8F9-420C-8CAD-E99DF4AB6B57}" destId="{3ED54860-039B-4F21-AF7A-501B0B519FA8}" srcOrd="0" destOrd="0" presId="urn:microsoft.com/office/officeart/2005/8/layout/StepDownProcess"/>
    <dgm:cxn modelId="{7C7C1325-5B75-4C82-AD01-5A2AA98FCC0D}" type="presParOf" srcId="{EBAB6D9B-5292-4AC9-99FD-75EC803E850B}" destId="{A4B8CE53-EB3C-4B85-B205-4A4BFD824CDE}" srcOrd="0" destOrd="0" presId="urn:microsoft.com/office/officeart/2005/8/layout/StepDownProcess"/>
    <dgm:cxn modelId="{6D05BD82-2DED-4B9F-97D6-15D7CC703E76}" type="presParOf" srcId="{A4B8CE53-EB3C-4B85-B205-4A4BFD824CDE}" destId="{D469C4E0-F5B4-4738-8B4F-BBF7CFC4127C}" srcOrd="0" destOrd="0" presId="urn:microsoft.com/office/officeart/2005/8/layout/StepDownProcess"/>
    <dgm:cxn modelId="{FD48EB37-3FFE-4EF3-B3EF-1A5E1D7B0906}" type="presParOf" srcId="{A4B8CE53-EB3C-4B85-B205-4A4BFD824CDE}" destId="{08FC73A5-D6D0-4BD8-B39C-20E5AEFE7508}" srcOrd="1" destOrd="0" presId="urn:microsoft.com/office/officeart/2005/8/layout/StepDownProcess"/>
    <dgm:cxn modelId="{DA688156-2A50-4F35-A5F3-F5F94CE735DC}" type="presParOf" srcId="{A4B8CE53-EB3C-4B85-B205-4A4BFD824CDE}" destId="{24B22B37-7F1A-483C-9216-3D36924C596E}" srcOrd="2" destOrd="0" presId="urn:microsoft.com/office/officeart/2005/8/layout/StepDownProcess"/>
    <dgm:cxn modelId="{1C575D09-F035-4461-AE1E-266B1C4F062F}" type="presParOf" srcId="{EBAB6D9B-5292-4AC9-99FD-75EC803E850B}" destId="{D6194356-64BB-45BA-AE7A-E9720BF6AA47}" srcOrd="1" destOrd="0" presId="urn:microsoft.com/office/officeart/2005/8/layout/StepDownProcess"/>
    <dgm:cxn modelId="{B92043C0-DD0D-4874-BECC-2E051E87DAFF}" type="presParOf" srcId="{EBAB6D9B-5292-4AC9-99FD-75EC803E850B}" destId="{1BC0DD54-48C0-440C-A5F6-DDF66FC38BB8}" srcOrd="2" destOrd="0" presId="urn:microsoft.com/office/officeart/2005/8/layout/StepDownProcess"/>
    <dgm:cxn modelId="{AE35B2EE-1B9A-4666-85BE-B6DB39D3CD54}" type="presParOf" srcId="{1BC0DD54-48C0-440C-A5F6-DDF66FC38BB8}" destId="{A424BA21-BB5B-4812-8E2E-9C88F945D4F3}" srcOrd="0" destOrd="0" presId="urn:microsoft.com/office/officeart/2005/8/layout/StepDownProcess"/>
    <dgm:cxn modelId="{537CD0CF-2715-4BF5-BABF-699AC135AB81}" type="presParOf" srcId="{1BC0DD54-48C0-440C-A5F6-DDF66FC38BB8}" destId="{1D6ED8AB-FF73-4550-9A7D-9BE8966AA528}" srcOrd="1" destOrd="0" presId="urn:microsoft.com/office/officeart/2005/8/layout/StepDownProcess"/>
    <dgm:cxn modelId="{2903E039-C3D4-4C1A-8B18-41BCA95EE267}" type="presParOf" srcId="{1BC0DD54-48C0-440C-A5F6-DDF66FC38BB8}" destId="{3ED54860-039B-4F21-AF7A-501B0B519FA8}" srcOrd="2" destOrd="0" presId="urn:microsoft.com/office/officeart/2005/8/layout/StepDownProcess"/>
    <dgm:cxn modelId="{6FF1F70B-5669-41E0-A950-38B6CB44ECBF}" type="presParOf" srcId="{EBAB6D9B-5292-4AC9-99FD-75EC803E850B}" destId="{EC459C37-A9F0-4DF2-9318-8E28512372A5}" srcOrd="3" destOrd="0" presId="urn:microsoft.com/office/officeart/2005/8/layout/StepDownProcess"/>
    <dgm:cxn modelId="{E12968AB-F44B-4362-9E33-7B280DD192F6}" type="presParOf" srcId="{EBAB6D9B-5292-4AC9-99FD-75EC803E850B}" destId="{0C3D9343-9284-478D-BF5D-AEDA5772C1CA}" srcOrd="4" destOrd="0" presId="urn:microsoft.com/office/officeart/2005/8/layout/StepDownProcess"/>
    <dgm:cxn modelId="{ED7639FA-15FE-4A05-87B7-22C3BFDD38E4}" type="presParOf" srcId="{0C3D9343-9284-478D-BF5D-AEDA5772C1CA}" destId="{4EC89296-2A8E-43F9-9A79-6DD4BA9B9F93}" srcOrd="0" destOrd="0" presId="urn:microsoft.com/office/officeart/2005/8/layout/StepDownProcess"/>
    <dgm:cxn modelId="{C18BF6E6-6195-4CF4-8E89-418A1A013D38}" type="presParOf" srcId="{0C3D9343-9284-478D-BF5D-AEDA5772C1CA}" destId="{5F41CAB8-12CB-48B4-B11A-631975FF272F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B6E2CA-C794-4552-A646-095D148AFCE4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8ADD266-137F-E246-BD2A-510C3E54E7AC}">
      <dgm:prSet phldrT="[Text]" custT="1"/>
      <dgm:spPr>
        <a:solidFill>
          <a:schemeClr val="lt1">
            <a:hueOff val="0"/>
            <a:satOff val="0"/>
            <a:lumOff val="0"/>
            <a:alpha val="72000"/>
          </a:schemeClr>
        </a:solidFill>
      </dgm:spPr>
      <dgm:t>
        <a:bodyPr/>
        <a:lstStyle/>
        <a:p>
          <a:r>
            <a:rPr lang="en-US" sz="1600" dirty="0" smtClean="0">
              <a:latin typeface="Gill Sans MT" pitchFamily="34" charset="0"/>
              <a:cs typeface="Arial" pitchFamily="34" charset="0"/>
            </a:rPr>
            <a:t>Employees take directions and don’t question or offer ideas.</a:t>
          </a:r>
          <a:endParaRPr lang="en-US" sz="1600" dirty="0">
            <a:latin typeface="Gill Sans MT" pitchFamily="34" charset="0"/>
            <a:cs typeface="Arial" pitchFamily="34" charset="0"/>
          </a:endParaRPr>
        </a:p>
      </dgm:t>
    </dgm:pt>
    <dgm:pt modelId="{8CF723F2-221B-4748-BA03-6D87EDCD40AF}" type="sibTrans" cxnId="{46CD2CDD-CE2C-134E-8545-F917BF7419F3}">
      <dgm:prSet/>
      <dgm:spPr/>
      <dgm:t>
        <a:bodyPr/>
        <a:lstStyle/>
        <a:p>
          <a:endParaRPr lang="en-US"/>
        </a:p>
      </dgm:t>
    </dgm:pt>
    <dgm:pt modelId="{E36F9D38-37A2-BB47-B757-FDC91DC6A224}" type="parTrans" cxnId="{46CD2CDD-CE2C-134E-8545-F917BF7419F3}">
      <dgm:prSet/>
      <dgm:spPr/>
      <dgm:t>
        <a:bodyPr/>
        <a:lstStyle/>
        <a:p>
          <a:endParaRPr lang="en-US"/>
        </a:p>
      </dgm:t>
    </dgm:pt>
    <dgm:pt modelId="{B864246C-02E3-0348-B04C-C043083F641F}">
      <dgm:prSet phldrT="[Text]" custT="1"/>
      <dgm:spPr>
        <a:solidFill>
          <a:schemeClr val="lt1">
            <a:hueOff val="0"/>
            <a:satOff val="0"/>
            <a:lumOff val="0"/>
            <a:alpha val="72000"/>
          </a:schemeClr>
        </a:solidFill>
      </dgm:spPr>
      <dgm:t>
        <a:bodyPr/>
        <a:lstStyle/>
        <a:p>
          <a:r>
            <a:rPr lang="en-US" sz="1800" dirty="0" smtClean="0">
              <a:latin typeface="Gill Sans MT" pitchFamily="34" charset="0"/>
              <a:cs typeface="Arial" pitchFamily="34" charset="0"/>
            </a:rPr>
            <a:t>Leaders boss, tell and direct.</a:t>
          </a:r>
          <a:endParaRPr lang="en-US" sz="1800" dirty="0">
            <a:latin typeface="Gill Sans MT" pitchFamily="34" charset="0"/>
            <a:cs typeface="Arial" pitchFamily="34" charset="0"/>
          </a:endParaRPr>
        </a:p>
      </dgm:t>
    </dgm:pt>
    <dgm:pt modelId="{9296B792-E281-BB42-80DB-2F168517D35F}" type="parTrans" cxnId="{CAF0596D-7701-9344-8B1F-F0147EDA5C59}">
      <dgm:prSet/>
      <dgm:spPr/>
      <dgm:t>
        <a:bodyPr/>
        <a:lstStyle/>
        <a:p>
          <a:endParaRPr lang="en-US"/>
        </a:p>
      </dgm:t>
    </dgm:pt>
    <dgm:pt modelId="{505E2381-B329-864D-933D-E036F3E77545}" type="sibTrans" cxnId="{CAF0596D-7701-9344-8B1F-F0147EDA5C59}">
      <dgm:prSet/>
      <dgm:spPr/>
      <dgm:t>
        <a:bodyPr/>
        <a:lstStyle/>
        <a:p>
          <a:endParaRPr lang="en-US"/>
        </a:p>
      </dgm:t>
    </dgm:pt>
    <dgm:pt modelId="{3A38881A-0E6B-4D4D-9FEB-226FBFA3A314}">
      <dgm:prSet phldrT="[Text]" custT="1"/>
      <dgm:spPr>
        <a:solidFill>
          <a:schemeClr val="lt1">
            <a:hueOff val="0"/>
            <a:satOff val="0"/>
            <a:lumOff val="0"/>
            <a:alpha val="72000"/>
          </a:schemeClr>
        </a:solidFill>
      </dgm:spPr>
      <dgm:t>
        <a:bodyPr/>
        <a:lstStyle/>
        <a:p>
          <a:r>
            <a:rPr lang="en-US" sz="1800" dirty="0" smtClean="0">
              <a:latin typeface="Gill Sans MT" pitchFamily="34" charset="0"/>
              <a:cs typeface="Arial" pitchFamily="34" charset="0"/>
            </a:rPr>
            <a:t>Leaders coach, mentor, teach.</a:t>
          </a:r>
          <a:endParaRPr lang="en-US" sz="1800" dirty="0">
            <a:latin typeface="Gill Sans MT" pitchFamily="34" charset="0"/>
            <a:cs typeface="Arial" pitchFamily="34" charset="0"/>
          </a:endParaRPr>
        </a:p>
      </dgm:t>
    </dgm:pt>
    <dgm:pt modelId="{6E2DD7A0-902F-A44F-8B8C-86796F44D877}" type="sibTrans" cxnId="{05B856A3-A1CD-5149-A5ED-A291E9E685BD}">
      <dgm:prSet/>
      <dgm:spPr/>
      <dgm:t>
        <a:bodyPr/>
        <a:lstStyle/>
        <a:p>
          <a:endParaRPr lang="en-US"/>
        </a:p>
      </dgm:t>
    </dgm:pt>
    <dgm:pt modelId="{D3463E71-3F7B-4B44-808F-C2AD9A493ED3}" type="parTrans" cxnId="{05B856A3-A1CD-5149-A5ED-A291E9E685BD}">
      <dgm:prSet/>
      <dgm:spPr/>
      <dgm:t>
        <a:bodyPr/>
        <a:lstStyle/>
        <a:p>
          <a:endParaRPr lang="en-US"/>
        </a:p>
      </dgm:t>
    </dgm:pt>
    <dgm:pt modelId="{0676631C-EDE7-4B74-80C7-06BA65525DC6}" type="pres">
      <dgm:prSet presAssocID="{53B6E2CA-C794-4552-A646-095D148AFCE4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CBFB4782-0499-4D3A-8263-1721F20C9C78}" type="pres">
      <dgm:prSet presAssocID="{53B6E2CA-C794-4552-A646-095D148AFCE4}" presName="pyramid" presStyleLbl="node1" presStyleIdx="0" presStyleCnt="1" custLinFactNeighborX="-31567"/>
      <dgm:spPr>
        <a:solidFill>
          <a:schemeClr val="accent3">
            <a:lumMod val="75000"/>
          </a:schemeClr>
        </a:solidFill>
        <a:ln>
          <a:solidFill>
            <a:srgbClr val="0066CC"/>
          </a:solidFill>
        </a:ln>
      </dgm:spPr>
      <dgm:t>
        <a:bodyPr/>
        <a:lstStyle/>
        <a:p>
          <a:endParaRPr lang="en-US"/>
        </a:p>
      </dgm:t>
    </dgm:pt>
    <dgm:pt modelId="{C30CED13-A736-4D61-BCDD-781CE09826B2}" type="pres">
      <dgm:prSet presAssocID="{53B6E2CA-C794-4552-A646-095D148AFCE4}" presName="theList" presStyleCnt="0"/>
      <dgm:spPr/>
    </dgm:pt>
    <dgm:pt modelId="{1A4556A1-9E84-2F45-B766-3BD893701510}" type="pres">
      <dgm:prSet presAssocID="{68ADD266-137F-E246-BD2A-510C3E54E7AC}" presName="aNode" presStyleLbl="fgAcc1" presStyleIdx="0" presStyleCnt="3" custScaleX="90656" custScaleY="33567" custLinFactY="78749" custLinFactNeighborX="-97781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26C375-3B44-EE49-9771-DC99DBD17C46}" type="pres">
      <dgm:prSet presAssocID="{68ADD266-137F-E246-BD2A-510C3E54E7AC}" presName="aSpace" presStyleCnt="0"/>
      <dgm:spPr/>
    </dgm:pt>
    <dgm:pt modelId="{A723CBA5-6B40-4845-B897-2B2154B4433E}" type="pres">
      <dgm:prSet presAssocID="{B864246C-02E3-0348-B04C-C043083F641F}" presName="aNode" presStyleLbl="fgAcc1" presStyleIdx="1" presStyleCnt="3" custScaleX="51475" custScaleY="26191" custLinFactY="-1038" custLinFactNeighborX="-98717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3E1E92-0D57-3C4E-ACB2-14B3C9923E63}" type="pres">
      <dgm:prSet presAssocID="{B864246C-02E3-0348-B04C-C043083F641F}" presName="aSpace" presStyleCnt="0"/>
      <dgm:spPr/>
    </dgm:pt>
    <dgm:pt modelId="{6B2AA9C9-E801-054F-8E60-556A50E3AEFC}" type="pres">
      <dgm:prSet presAssocID="{3A38881A-0E6B-4D4D-9FEB-226FBFA3A314}" presName="aNode" presStyleLbl="fgAcc1" presStyleIdx="2" presStyleCnt="3" custScaleX="64755" custScaleY="21166" custLinFactY="-25976" custLinFactNeighborX="14547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D4BA4E-0F44-0544-8F99-A6354E7586DD}" type="pres">
      <dgm:prSet presAssocID="{3A38881A-0E6B-4D4D-9FEB-226FBFA3A314}" presName="aSpace" presStyleCnt="0"/>
      <dgm:spPr/>
    </dgm:pt>
  </dgm:ptLst>
  <dgm:cxnLst>
    <dgm:cxn modelId="{46CD2CDD-CE2C-134E-8545-F917BF7419F3}" srcId="{53B6E2CA-C794-4552-A646-095D148AFCE4}" destId="{68ADD266-137F-E246-BD2A-510C3E54E7AC}" srcOrd="0" destOrd="0" parTransId="{E36F9D38-37A2-BB47-B757-FDC91DC6A224}" sibTransId="{8CF723F2-221B-4748-BA03-6D87EDCD40AF}"/>
    <dgm:cxn modelId="{FE165790-D6F3-41DA-97F1-EE93CF29278A}" type="presOf" srcId="{3A38881A-0E6B-4D4D-9FEB-226FBFA3A314}" destId="{6B2AA9C9-E801-054F-8E60-556A50E3AEFC}" srcOrd="0" destOrd="0" presId="urn:microsoft.com/office/officeart/2005/8/layout/pyramid2"/>
    <dgm:cxn modelId="{10DC4B0D-8051-4357-97DD-9F21959FF56B}" type="presOf" srcId="{68ADD266-137F-E246-BD2A-510C3E54E7AC}" destId="{1A4556A1-9E84-2F45-B766-3BD893701510}" srcOrd="0" destOrd="0" presId="urn:microsoft.com/office/officeart/2005/8/layout/pyramid2"/>
    <dgm:cxn modelId="{6AEB1686-5077-4D01-9355-0381FF48C803}" type="presOf" srcId="{B864246C-02E3-0348-B04C-C043083F641F}" destId="{A723CBA5-6B40-4845-B897-2B2154B4433E}" srcOrd="0" destOrd="0" presId="urn:microsoft.com/office/officeart/2005/8/layout/pyramid2"/>
    <dgm:cxn modelId="{CAF0596D-7701-9344-8B1F-F0147EDA5C59}" srcId="{53B6E2CA-C794-4552-A646-095D148AFCE4}" destId="{B864246C-02E3-0348-B04C-C043083F641F}" srcOrd="1" destOrd="0" parTransId="{9296B792-E281-BB42-80DB-2F168517D35F}" sibTransId="{505E2381-B329-864D-933D-E036F3E77545}"/>
    <dgm:cxn modelId="{69E566DA-5A26-465A-8668-6E731EF34B22}" type="presOf" srcId="{53B6E2CA-C794-4552-A646-095D148AFCE4}" destId="{0676631C-EDE7-4B74-80C7-06BA65525DC6}" srcOrd="0" destOrd="0" presId="urn:microsoft.com/office/officeart/2005/8/layout/pyramid2"/>
    <dgm:cxn modelId="{05B856A3-A1CD-5149-A5ED-A291E9E685BD}" srcId="{53B6E2CA-C794-4552-A646-095D148AFCE4}" destId="{3A38881A-0E6B-4D4D-9FEB-226FBFA3A314}" srcOrd="2" destOrd="0" parTransId="{D3463E71-3F7B-4B44-808F-C2AD9A493ED3}" sibTransId="{6E2DD7A0-902F-A44F-8B8C-86796F44D877}"/>
    <dgm:cxn modelId="{48829799-9D68-4C2E-AEDB-B7598E5DA541}" type="presParOf" srcId="{0676631C-EDE7-4B74-80C7-06BA65525DC6}" destId="{CBFB4782-0499-4D3A-8263-1721F20C9C78}" srcOrd="0" destOrd="0" presId="urn:microsoft.com/office/officeart/2005/8/layout/pyramid2"/>
    <dgm:cxn modelId="{944618C2-B04B-45E6-9005-2B0BB5B9BDEF}" type="presParOf" srcId="{0676631C-EDE7-4B74-80C7-06BA65525DC6}" destId="{C30CED13-A736-4D61-BCDD-781CE09826B2}" srcOrd="1" destOrd="0" presId="urn:microsoft.com/office/officeart/2005/8/layout/pyramid2"/>
    <dgm:cxn modelId="{7EC1E3F2-0094-44D8-87CA-9A3D24FFFBDA}" type="presParOf" srcId="{C30CED13-A736-4D61-BCDD-781CE09826B2}" destId="{1A4556A1-9E84-2F45-B766-3BD893701510}" srcOrd="0" destOrd="0" presId="urn:microsoft.com/office/officeart/2005/8/layout/pyramid2"/>
    <dgm:cxn modelId="{351629DB-6B6A-4FBB-B097-C360387F09D0}" type="presParOf" srcId="{C30CED13-A736-4D61-BCDD-781CE09826B2}" destId="{9626C375-3B44-EE49-9771-DC99DBD17C46}" srcOrd="1" destOrd="0" presId="urn:microsoft.com/office/officeart/2005/8/layout/pyramid2"/>
    <dgm:cxn modelId="{3C61524F-DBCE-4CEB-80BC-2C3B3FC67E83}" type="presParOf" srcId="{C30CED13-A736-4D61-BCDD-781CE09826B2}" destId="{A723CBA5-6B40-4845-B897-2B2154B4433E}" srcOrd="2" destOrd="0" presId="urn:microsoft.com/office/officeart/2005/8/layout/pyramid2"/>
    <dgm:cxn modelId="{CF28BB05-F289-4963-8B6B-9824E639FB54}" type="presParOf" srcId="{C30CED13-A736-4D61-BCDD-781CE09826B2}" destId="{4C3E1E92-0D57-3C4E-ACB2-14B3C9923E63}" srcOrd="3" destOrd="0" presId="urn:microsoft.com/office/officeart/2005/8/layout/pyramid2"/>
    <dgm:cxn modelId="{275019F9-59E4-4C88-939C-286F7DF974F7}" type="presParOf" srcId="{C30CED13-A736-4D61-BCDD-781CE09826B2}" destId="{6B2AA9C9-E801-054F-8E60-556A50E3AEFC}" srcOrd="4" destOrd="0" presId="urn:microsoft.com/office/officeart/2005/8/layout/pyramid2"/>
    <dgm:cxn modelId="{E4302552-D44E-46B8-8227-FA4702B88845}" type="presParOf" srcId="{C30CED13-A736-4D61-BCDD-781CE09826B2}" destId="{A3D4BA4E-0F44-0544-8F99-A6354E7586DD}" srcOrd="5" destOrd="0" presId="urn:microsoft.com/office/officeart/2005/8/layout/pyramid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DD2603-CC0A-4EB3-A16E-2C070EFFBC4E}">
      <dsp:nvSpPr>
        <dsp:cNvPr id="0" name=""/>
        <dsp:cNvSpPr/>
      </dsp:nvSpPr>
      <dsp:spPr>
        <a:xfrm>
          <a:off x="2935198" y="289873"/>
          <a:ext cx="2761224" cy="2322386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052648-2B79-405C-8E58-E0FB17F9E3BE}">
      <dsp:nvSpPr>
        <dsp:cNvPr id="0" name=""/>
        <dsp:cNvSpPr/>
      </dsp:nvSpPr>
      <dsp:spPr>
        <a:xfrm>
          <a:off x="1809916" y="1266163"/>
          <a:ext cx="1689740" cy="149648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Measuring what matters</a:t>
          </a:r>
          <a:endParaRPr lang="en-US" sz="1800" b="1" kern="1200" dirty="0"/>
        </a:p>
      </dsp:txBody>
      <dsp:txXfrm>
        <a:off x="1809916" y="1266163"/>
        <a:ext cx="1689740" cy="1496484"/>
      </dsp:txXfrm>
    </dsp:sp>
    <dsp:sp modelId="{4BC740F1-E587-4C36-951B-96F706E6A8E3}">
      <dsp:nvSpPr>
        <dsp:cNvPr id="0" name=""/>
        <dsp:cNvSpPr/>
      </dsp:nvSpPr>
      <dsp:spPr>
        <a:xfrm>
          <a:off x="7316059" y="289873"/>
          <a:ext cx="2761224" cy="2322386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89B3BA-AD3E-41B4-9AD1-FE4AB94C13FC}">
      <dsp:nvSpPr>
        <dsp:cNvPr id="0" name=""/>
        <dsp:cNvSpPr/>
      </dsp:nvSpPr>
      <dsp:spPr>
        <a:xfrm>
          <a:off x="6181424" y="1266163"/>
          <a:ext cx="1708447" cy="1496484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kern="1200" dirty="0" smtClean="0"/>
            <a:t>Continuously</a:t>
          </a:r>
        </a:p>
        <a:p>
          <a:pPr lvl="0" algn="ctr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kern="1200" dirty="0" smtClean="0"/>
            <a:t>Improving with Lean thinking &amp; tools</a:t>
          </a:r>
          <a:endParaRPr lang="en-US" sz="1800" b="1" kern="1200" dirty="0"/>
        </a:p>
      </dsp:txBody>
      <dsp:txXfrm>
        <a:off x="6181424" y="1266163"/>
        <a:ext cx="1708447" cy="1496484"/>
      </dsp:txXfrm>
    </dsp:sp>
    <dsp:sp modelId="{5BE31F8C-8422-4C4E-AEE5-DF50A97DCCDC}">
      <dsp:nvSpPr>
        <dsp:cNvPr id="0" name=""/>
        <dsp:cNvSpPr/>
      </dsp:nvSpPr>
      <dsp:spPr>
        <a:xfrm>
          <a:off x="2919612" y="3180951"/>
          <a:ext cx="2761224" cy="2322386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FB7B16-E658-4D0E-9BCB-65ED2DB04BEA}">
      <dsp:nvSpPr>
        <dsp:cNvPr id="0" name=""/>
        <dsp:cNvSpPr/>
      </dsp:nvSpPr>
      <dsp:spPr>
        <a:xfrm>
          <a:off x="1847320" y="4157241"/>
          <a:ext cx="1583759" cy="1496484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Engaging with customers</a:t>
          </a:r>
          <a:endParaRPr lang="en-US" sz="1800" b="1" kern="1200" dirty="0"/>
        </a:p>
      </dsp:txBody>
      <dsp:txXfrm>
        <a:off x="1847320" y="4157241"/>
        <a:ext cx="1583759" cy="1496484"/>
      </dsp:txXfrm>
    </dsp:sp>
    <dsp:sp modelId="{14F8FB0C-8676-49F6-A8B6-4CBBAFA4CF97}">
      <dsp:nvSpPr>
        <dsp:cNvPr id="0" name=""/>
        <dsp:cNvSpPr/>
      </dsp:nvSpPr>
      <dsp:spPr>
        <a:xfrm>
          <a:off x="7278655" y="3180951"/>
          <a:ext cx="2761224" cy="2322386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53EC86-447A-450A-9B3D-3C6BB1C34DAD}">
      <dsp:nvSpPr>
        <dsp:cNvPr id="0" name=""/>
        <dsp:cNvSpPr/>
      </dsp:nvSpPr>
      <dsp:spPr>
        <a:xfrm>
          <a:off x="6165838" y="4157241"/>
          <a:ext cx="1664809" cy="1496484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kern="1200" dirty="0" smtClean="0"/>
            <a:t>Reviewing</a:t>
          </a:r>
        </a:p>
        <a:p>
          <a:pPr lvl="0" algn="ctr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kern="1200" dirty="0" smtClean="0"/>
            <a:t>&amp;      reporting</a:t>
          </a:r>
          <a:endParaRPr lang="en-US" sz="1800" b="1" kern="1200" dirty="0"/>
        </a:p>
      </dsp:txBody>
      <dsp:txXfrm>
        <a:off x="6165838" y="4157241"/>
        <a:ext cx="1664809" cy="14964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69C4E0-F5B4-4738-8B4F-BBF7CFC4127C}">
      <dsp:nvSpPr>
        <dsp:cNvPr id="0" name=""/>
        <dsp:cNvSpPr/>
      </dsp:nvSpPr>
      <dsp:spPr>
        <a:xfrm rot="5400000">
          <a:off x="719479" y="1403290"/>
          <a:ext cx="1240467" cy="141222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12548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FC73A5-D6D0-4BD8-B39C-20E5AEFE7508}">
      <dsp:nvSpPr>
        <dsp:cNvPr id="0" name=""/>
        <dsp:cNvSpPr/>
      </dsp:nvSpPr>
      <dsp:spPr>
        <a:xfrm>
          <a:off x="390830" y="28207"/>
          <a:ext cx="2088217" cy="1461684"/>
        </a:xfrm>
        <a:prstGeom prst="roundRect">
          <a:avLst>
            <a:gd name="adj" fmla="val 16670"/>
          </a:avLst>
        </a:prstGeom>
        <a:solidFill>
          <a:srgbClr val="12548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Objective</a:t>
          </a:r>
          <a:endParaRPr lang="en-US" sz="2300" kern="1200" dirty="0"/>
        </a:p>
      </dsp:txBody>
      <dsp:txXfrm>
        <a:off x="462196" y="99573"/>
        <a:ext cx="1945485" cy="1318952"/>
      </dsp:txXfrm>
    </dsp:sp>
    <dsp:sp modelId="{24B22B37-7F1A-483C-9216-3D36924C596E}">
      <dsp:nvSpPr>
        <dsp:cNvPr id="0" name=""/>
        <dsp:cNvSpPr/>
      </dsp:nvSpPr>
      <dsp:spPr>
        <a:xfrm>
          <a:off x="2514397" y="45939"/>
          <a:ext cx="3576172" cy="14630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0" kern="1200" dirty="0" smtClean="0"/>
            <a:t>What problem </a:t>
          </a:r>
          <a:r>
            <a:rPr lang="en-US" sz="2400" b="0" kern="1200" dirty="0" smtClean="0"/>
            <a:t>do </a:t>
          </a:r>
          <a:r>
            <a:rPr lang="en-US" sz="2400" b="0" kern="1200" dirty="0" smtClean="0"/>
            <a:t>we </a:t>
          </a:r>
          <a:r>
            <a:rPr lang="en-US" sz="2400" b="0" kern="1200" dirty="0" smtClean="0"/>
            <a:t>really need </a:t>
          </a:r>
          <a:r>
            <a:rPr lang="en-US" sz="2400" b="0" kern="1200" dirty="0" smtClean="0"/>
            <a:t>to solve?</a:t>
          </a:r>
          <a:endParaRPr lang="en-US" sz="2400" b="0" kern="1200" dirty="0"/>
        </a:p>
      </dsp:txBody>
      <dsp:txXfrm>
        <a:off x="2514397" y="45939"/>
        <a:ext cx="3576172" cy="1463019"/>
      </dsp:txXfrm>
    </dsp:sp>
    <dsp:sp modelId="{A424BA21-BB5B-4812-8E2E-9C88F945D4F3}">
      <dsp:nvSpPr>
        <dsp:cNvPr id="0" name=""/>
        <dsp:cNvSpPr/>
      </dsp:nvSpPr>
      <dsp:spPr>
        <a:xfrm rot="5400000">
          <a:off x="2944609" y="3045243"/>
          <a:ext cx="1240467" cy="141222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rgbClr val="729F4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6ED8AB-FF73-4550-9A7D-9BE8966AA528}">
      <dsp:nvSpPr>
        <dsp:cNvPr id="0" name=""/>
        <dsp:cNvSpPr/>
      </dsp:nvSpPr>
      <dsp:spPr>
        <a:xfrm>
          <a:off x="2615961" y="1670160"/>
          <a:ext cx="2088217" cy="1461684"/>
        </a:xfrm>
        <a:prstGeom prst="roundRect">
          <a:avLst>
            <a:gd name="adj" fmla="val 16670"/>
          </a:avLst>
        </a:prstGeom>
        <a:solidFill>
          <a:srgbClr val="729F4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Root cause analysis</a:t>
          </a:r>
          <a:endParaRPr lang="en-US" sz="2300" kern="1200" dirty="0"/>
        </a:p>
      </dsp:txBody>
      <dsp:txXfrm>
        <a:off x="2687327" y="1741526"/>
        <a:ext cx="1945485" cy="1318952"/>
      </dsp:txXfrm>
    </dsp:sp>
    <dsp:sp modelId="{3ED54860-039B-4F21-AF7A-501B0B519FA8}">
      <dsp:nvSpPr>
        <dsp:cNvPr id="0" name=""/>
        <dsp:cNvSpPr/>
      </dsp:nvSpPr>
      <dsp:spPr>
        <a:xfrm>
          <a:off x="4776600" y="1809601"/>
          <a:ext cx="4355817" cy="11813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0" kern="1200" dirty="0" smtClean="0"/>
            <a:t>What are the root causes of the problem?</a:t>
          </a:r>
          <a:endParaRPr lang="en-US" sz="2400" b="0" kern="1200" dirty="0"/>
        </a:p>
      </dsp:txBody>
      <dsp:txXfrm>
        <a:off x="4776600" y="1809601"/>
        <a:ext cx="4355817" cy="1181397"/>
      </dsp:txXfrm>
    </dsp:sp>
    <dsp:sp modelId="{4EC89296-2A8E-43F9-9A79-6DD4BA9B9F93}">
      <dsp:nvSpPr>
        <dsp:cNvPr id="0" name=""/>
        <dsp:cNvSpPr/>
      </dsp:nvSpPr>
      <dsp:spPr>
        <a:xfrm>
          <a:off x="4841091" y="3312114"/>
          <a:ext cx="2088217" cy="1461684"/>
        </a:xfrm>
        <a:prstGeom prst="roundRect">
          <a:avLst>
            <a:gd name="adj" fmla="val 16670"/>
          </a:avLst>
        </a:prstGeom>
        <a:solidFill>
          <a:srgbClr val="F96D0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Improvement plan</a:t>
          </a:r>
          <a:endParaRPr lang="en-US" sz="2300" kern="1200" dirty="0"/>
        </a:p>
      </dsp:txBody>
      <dsp:txXfrm>
        <a:off x="4912457" y="3383480"/>
        <a:ext cx="1945485" cy="1318952"/>
      </dsp:txXfrm>
    </dsp:sp>
    <dsp:sp modelId="{5F41CAB8-12CB-48B4-B11A-631975FF272F}">
      <dsp:nvSpPr>
        <dsp:cNvPr id="0" name=""/>
        <dsp:cNvSpPr/>
      </dsp:nvSpPr>
      <dsp:spPr>
        <a:xfrm>
          <a:off x="7015048" y="3406874"/>
          <a:ext cx="2128951" cy="11813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b="0" kern="1200" dirty="0" smtClean="0"/>
            <a:t>Specific strategies and metrics</a:t>
          </a:r>
          <a:endParaRPr lang="en-US" sz="2400" b="0" kern="1200" dirty="0"/>
        </a:p>
      </dsp:txBody>
      <dsp:txXfrm>
        <a:off x="7015048" y="3406874"/>
        <a:ext cx="2128951" cy="11813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FB4782-0499-4D3A-8263-1721F20C9C78}">
      <dsp:nvSpPr>
        <dsp:cNvPr id="0" name=""/>
        <dsp:cNvSpPr/>
      </dsp:nvSpPr>
      <dsp:spPr>
        <a:xfrm>
          <a:off x="152382" y="0"/>
          <a:ext cx="4525963" cy="4525963"/>
        </a:xfrm>
        <a:prstGeom prst="triangle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rgbClr val="0066C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4556A1-9E84-2F45-B766-3BD893701510}">
      <dsp:nvSpPr>
        <dsp:cNvPr id="0" name=""/>
        <dsp:cNvSpPr/>
      </dsp:nvSpPr>
      <dsp:spPr>
        <a:xfrm>
          <a:off x="1104923" y="3241719"/>
          <a:ext cx="2666987" cy="1025480"/>
        </a:xfrm>
        <a:prstGeom prst="roundRect">
          <a:avLst/>
        </a:prstGeom>
        <a:solidFill>
          <a:schemeClr val="lt1">
            <a:hueOff val="0"/>
            <a:satOff val="0"/>
            <a:lumOff val="0"/>
            <a:alpha val="72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latin typeface="Gill Sans MT" pitchFamily="34" charset="0"/>
              <a:cs typeface="Arial" pitchFamily="34" charset="0"/>
            </a:rPr>
            <a:t>Employees take directions and don’t question or offer ideas.</a:t>
          </a:r>
          <a:endParaRPr lang="en-US" sz="1600" kern="1200" dirty="0">
            <a:latin typeface="Gill Sans MT" pitchFamily="34" charset="0"/>
            <a:cs typeface="Arial" pitchFamily="34" charset="0"/>
          </a:endParaRPr>
        </a:p>
      </dsp:txBody>
      <dsp:txXfrm>
        <a:off x="1154983" y="3291779"/>
        <a:ext cx="2566867" cy="925360"/>
      </dsp:txXfrm>
    </dsp:sp>
    <dsp:sp modelId="{A723CBA5-6B40-4845-B897-2B2154B4433E}">
      <dsp:nvSpPr>
        <dsp:cNvPr id="0" name=""/>
        <dsp:cNvSpPr/>
      </dsp:nvSpPr>
      <dsp:spPr>
        <a:xfrm>
          <a:off x="1653715" y="1447809"/>
          <a:ext cx="1514330" cy="800141"/>
        </a:xfrm>
        <a:prstGeom prst="roundRect">
          <a:avLst/>
        </a:prstGeom>
        <a:solidFill>
          <a:schemeClr val="lt1">
            <a:hueOff val="0"/>
            <a:satOff val="0"/>
            <a:lumOff val="0"/>
            <a:alpha val="72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Gill Sans MT" pitchFamily="34" charset="0"/>
              <a:cs typeface="Arial" pitchFamily="34" charset="0"/>
            </a:rPr>
            <a:t>Leaders boss, tell and direct.</a:t>
          </a:r>
          <a:endParaRPr lang="en-US" sz="1800" kern="1200" dirty="0">
            <a:latin typeface="Gill Sans MT" pitchFamily="34" charset="0"/>
            <a:cs typeface="Arial" pitchFamily="34" charset="0"/>
          </a:endParaRPr>
        </a:p>
      </dsp:txBody>
      <dsp:txXfrm>
        <a:off x="1692775" y="1486869"/>
        <a:ext cx="1436210" cy="722021"/>
      </dsp:txXfrm>
    </dsp:sp>
    <dsp:sp modelId="{6B2AA9C9-E801-054F-8E60-556A50E3AEFC}">
      <dsp:nvSpPr>
        <dsp:cNvPr id="0" name=""/>
        <dsp:cNvSpPr/>
      </dsp:nvSpPr>
      <dsp:spPr>
        <a:xfrm>
          <a:off x="4790461" y="1867966"/>
          <a:ext cx="1905011" cy="646626"/>
        </a:xfrm>
        <a:prstGeom prst="roundRect">
          <a:avLst/>
        </a:prstGeom>
        <a:solidFill>
          <a:schemeClr val="lt1">
            <a:hueOff val="0"/>
            <a:satOff val="0"/>
            <a:lumOff val="0"/>
            <a:alpha val="72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Gill Sans MT" pitchFamily="34" charset="0"/>
              <a:cs typeface="Arial" pitchFamily="34" charset="0"/>
            </a:rPr>
            <a:t>Leaders coach, mentor, teach.</a:t>
          </a:r>
          <a:endParaRPr lang="en-US" sz="1800" kern="1200" dirty="0">
            <a:latin typeface="Gill Sans MT" pitchFamily="34" charset="0"/>
            <a:cs typeface="Arial" pitchFamily="34" charset="0"/>
          </a:endParaRPr>
        </a:p>
      </dsp:txBody>
      <dsp:txXfrm>
        <a:off x="4822027" y="1899532"/>
        <a:ext cx="1841879" cy="5834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BendingPictureBlocks">
  <dgm:title val=""/>
  <dgm:desc val=""/>
  <dgm:catLst>
    <dgm:cat type="picture" pri="8000"/>
    <dgm:cat type="pictureconvert" pri="8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1.61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908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3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h" fact="1.12"/>
              <dgm:constr type="h" for="ch" forName="rect1" refType="h" fact="0.942"/>
              <dgm:constr type="l" for="ch" forName="rect2" refType="w" fact="0.63"/>
              <dgm:constr type="t" for="ch" forName="rect2" refType="h" fact="0.396"/>
              <dgm:constr type="w" for="ch" forName="rect2" refType="h" fact="0.607"/>
              <dgm:constr type="h" for="ch" forName="rect2" refType="h" fact="0.607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rect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EA85FB-08AD-4AFD-9412-B13C3C994E74}" type="datetimeFigureOut">
              <a:rPr lang="en-US" smtClean="0"/>
              <a:t>11/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196D64-3A39-4B3F-9318-201A9BF0E2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812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CD2C0C3-92B5-4135-994D-93648D53FE06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4E18FC5-A799-4A09-B054-9C2A7A691AF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1353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868" indent="-285718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2874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023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174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470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8621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fld id="{FE88EDF7-AF4B-4FEB-AC6B-9C22D02D9F46}" type="slidenum">
              <a:rPr lang="en-US" altLang="en-US" sz="1200"/>
              <a:pPr/>
              <a:t>1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8320088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D12A-5488-4504-A901-6873FD17604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9447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09" indent="-28573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2937" indent="-228587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111" indent="-228587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287" indent="-228587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fld id="{7D756BA7-986A-4FDE-AE58-D108E38718DF}" type="slidenum">
              <a:rPr lang="en-US" altLang="en-US" sz="1200"/>
              <a:pPr/>
              <a:t>13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1112007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C7D12A-5488-4504-A901-6873FD17604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9447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2" y="4416431"/>
            <a:ext cx="5608320" cy="4183062"/>
          </a:xfrm>
          <a:prstGeom prst="rect">
            <a:avLst/>
          </a:prstGeom>
        </p:spPr>
        <p:txBody>
          <a:bodyPr lIns="91386" tIns="45693" rIns="91386" bIns="45693">
            <a:normAutofit/>
          </a:bodyPr>
          <a:lstStyle/>
          <a:p>
            <a:endParaRPr lang="en-US" u="non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test a foo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441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 Here are the objectives</a:t>
            </a:r>
            <a:r>
              <a:rPr lang="en-US" baseline="0" dirty="0" smtClean="0"/>
              <a:t> for this </a:t>
            </a:r>
            <a:r>
              <a:rPr lang="en-US" baseline="0" dirty="0" err="1" smtClean="0"/>
              <a:t>CoP.</a:t>
            </a:r>
            <a:r>
              <a:rPr lang="en-US" baseline="0" dirty="0" smtClean="0"/>
              <a:t>  We hope you gain knowledge and are able to implement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What visual management is and why it is important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Recognize examples of visual management and understand what it is explaining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Put visual management to work in your own work environment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201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isual management allows you to</a:t>
            </a:r>
            <a:r>
              <a:rPr lang="en-US" baseline="0" dirty="0" smtClean="0"/>
              <a:t> see the normal state, which is your standard, and it allows you to quickly see when something abnormal happens</a:t>
            </a:r>
          </a:p>
          <a:p>
            <a:endParaRPr lang="en-US" baseline="0" dirty="0" smtClean="0"/>
          </a:p>
          <a:p>
            <a:r>
              <a:rPr lang="en-US" baseline="0" dirty="0" smtClean="0"/>
              <a:t>It is a management tool that invites everyone to particip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827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rovides visual</a:t>
            </a:r>
            <a:r>
              <a:rPr lang="en-US" baseline="0" dirty="0" smtClean="0"/>
              <a:t> trend of progress against goals and objectives</a:t>
            </a:r>
          </a:p>
          <a:p>
            <a:endParaRPr lang="en-US" baseline="0" dirty="0" smtClean="0"/>
          </a:p>
          <a:p>
            <a:r>
              <a:rPr lang="en-US" baseline="0" dirty="0" smtClean="0"/>
              <a:t>Identifies opportunities for improvement and correctio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 smtClean="0">
              <a:latin typeface="+mn-lt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1" dirty="0" smtClean="0">
                <a:latin typeface="Calibri" pitchFamily="34" charset="0"/>
              </a:rPr>
              <a:t>We know that good visual management needs no interpretation and immediately provokes the correct reaction.  </a:t>
            </a:r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1201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ke a look at these pictures. There</a:t>
            </a:r>
            <a:r>
              <a:rPr lang="en-US" baseline="0" dirty="0" smtClean="0"/>
              <a:t> are actually two visual management tools here. Let’s look at the </a:t>
            </a:r>
            <a:r>
              <a:rPr lang="en-US" baseline="0" dirty="0" err="1" smtClean="0"/>
              <a:t>CoP.</a:t>
            </a:r>
            <a:r>
              <a:rPr lang="en-US" baseline="0" dirty="0" smtClean="0"/>
              <a:t> Do you understand what is happening? What do you see? What is the status?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are still adjusting this but it helps us stay on track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lso, look at the Out of Office. How many of you have these in your office? How many of them are always used? Do you have a management system built around them to hold everyone accountable to them? Why do you have them if you do not?</a:t>
            </a:r>
          </a:p>
          <a:p>
            <a:endParaRPr lang="en-US" baseline="0" dirty="0" smtClean="0"/>
          </a:p>
          <a:p>
            <a:r>
              <a:rPr lang="en-US" b="1" baseline="0" dirty="0" smtClean="0"/>
              <a:t>IF YOU GET THE OUTLOOK QUESTION:</a:t>
            </a:r>
          </a:p>
          <a:p>
            <a:r>
              <a:rPr lang="en-US" b="0" baseline="0" dirty="0" smtClean="0"/>
              <a:t>Outlook works but this is a simple and quick snapshot that ANYONE can see and react to. </a:t>
            </a:r>
          </a:p>
          <a:p>
            <a:r>
              <a:rPr lang="en-US" b="0" baseline="0" dirty="0" smtClean="0"/>
              <a:t>Many Outlook calendars are not up to date. This information is current because of our management system behind it.</a:t>
            </a:r>
          </a:p>
          <a:p>
            <a:r>
              <a:rPr lang="en-US" b="0" baseline="0" dirty="0" smtClean="0"/>
              <a:t>There are 7 people on this board. Don’t have to open 7 calendars to get the informa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actually have a “standard work” tracking board that tracks whether we met intent of the standard wor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271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ake a look at these pictures. There</a:t>
            </a:r>
            <a:r>
              <a:rPr lang="en-US" baseline="0" dirty="0" smtClean="0"/>
              <a:t> are actually two visual management tools here. Let’s look at the </a:t>
            </a:r>
            <a:r>
              <a:rPr lang="en-US" baseline="0" dirty="0" err="1" smtClean="0"/>
              <a:t>CoP.</a:t>
            </a:r>
            <a:r>
              <a:rPr lang="en-US" baseline="0" dirty="0" smtClean="0"/>
              <a:t> Do you understand what is happening? What do you see? What is the status?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are still adjusting this but it helps us stay on track.</a:t>
            </a:r>
          </a:p>
          <a:p>
            <a:endParaRPr lang="en-US" baseline="0" dirty="0" smtClean="0"/>
          </a:p>
          <a:p>
            <a:r>
              <a:rPr lang="en-US" baseline="0" dirty="0" smtClean="0"/>
              <a:t>Also, look at the Out of Office. How many of you have these in your office? How many of them are always used? Do you have a management system built around them to hold everyone accountable to them? Why do you have them if you do not?</a:t>
            </a:r>
          </a:p>
          <a:p>
            <a:endParaRPr lang="en-US" baseline="0" dirty="0" smtClean="0"/>
          </a:p>
          <a:p>
            <a:r>
              <a:rPr lang="en-US" b="1" baseline="0" dirty="0" smtClean="0"/>
              <a:t>IF YOU GET THE OUTLOOK QUESTION:</a:t>
            </a:r>
          </a:p>
          <a:p>
            <a:r>
              <a:rPr lang="en-US" b="0" baseline="0" dirty="0" smtClean="0"/>
              <a:t>Outlook works but this is a simple and quick snapshot that ANYONE can see and react to. </a:t>
            </a:r>
          </a:p>
          <a:p>
            <a:r>
              <a:rPr lang="en-US" b="0" baseline="0" dirty="0" smtClean="0"/>
              <a:t>Many Outlook calendars are not up to date. This information is current because of our management system behind it.</a:t>
            </a:r>
          </a:p>
          <a:p>
            <a:r>
              <a:rPr lang="en-US" b="0" baseline="0" dirty="0" smtClean="0"/>
              <a:t>There are 7 people on this board. Don’t have to open 7 calendars to get the information.</a:t>
            </a:r>
          </a:p>
          <a:p>
            <a:endParaRPr lang="en-US" baseline="0" dirty="0" smtClean="0"/>
          </a:p>
          <a:p>
            <a:r>
              <a:rPr lang="en-US" baseline="0" dirty="0" smtClean="0"/>
              <a:t>We actually have a “standard work” tracking board that tracks whether we met intent of the standard wor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3072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baseline="0" dirty="0" smtClean="0">
                <a:latin typeface="Calibri" pitchFamily="34" charset="0"/>
              </a:rPr>
              <a:t>What type of visual management tools do you see that make up this management system?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 smtClean="0">
              <a:latin typeface="Calibri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baseline="0" dirty="0" smtClean="0">
                <a:latin typeface="Calibri" pitchFamily="34" charset="0"/>
              </a:rPr>
              <a:t>Can anyone come in to this office and wee what is going on?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baseline="0" dirty="0" smtClean="0">
              <a:latin typeface="Calibri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baseline="0" dirty="0" smtClean="0">
                <a:latin typeface="Calibri" pitchFamily="34" charset="0"/>
              </a:rPr>
              <a:t>Is there room for the mouse in your office or cubicle?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dirty="0" smtClean="0">
              <a:latin typeface="Calibri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769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18FC5-A799-4A09-B054-9C2A7A691AFA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1054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baseline="0" dirty="0" smtClean="0"/>
              <a:t>We are handing out examples of visual management and want you to spend the next 3-4 minutes at your table to determine if these three questions are answered. We will do a quick report back on your thoughts.</a:t>
            </a:r>
          </a:p>
          <a:p>
            <a:endParaRPr lang="en-US" b="0" i="0" baseline="0" dirty="0" smtClean="0"/>
          </a:p>
          <a:p>
            <a:r>
              <a:rPr lang="en-US" b="0" i="0" baseline="0" dirty="0" smtClean="0"/>
              <a:t>Hand out visuals and have tables work on reviewing them and report back about what they think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76917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isualizing</a:t>
            </a:r>
            <a:r>
              <a:rPr lang="en-US" baseline="0" dirty="0" smtClean="0"/>
              <a:t> work helps put it into context, and makes trade-offs, priorities, and outcomes become more clear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Example:  Shawn is going to give his gas gauge story her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C7BFEB-9011-44EF-8C18-C79E9691D258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7691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Key Strategies</a:t>
            </a:r>
            <a:r>
              <a:rPr lang="en-US" baseline="0" dirty="0" smtClean="0"/>
              <a:t> we are deploying to build our lean cultures are: </a:t>
            </a:r>
          </a:p>
          <a:p>
            <a:endParaRPr lang="en-US" baseline="0" dirty="0" smtClean="0"/>
          </a:p>
          <a:p>
            <a:r>
              <a:rPr lang="en-US" baseline="0" dirty="0" smtClean="0"/>
              <a:t>Communities of practice, a fellowship program, the Lean expert partnership and our Lean Confere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620B57-0A7D-4BDB-864C-8778BE3B858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1446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18FC5-A799-4A09-B054-9C2A7A691AFA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1785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868" indent="-285718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2874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023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174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470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8621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fld id="{FE88EDF7-AF4B-4FEB-AC6B-9C22D02D9F46}" type="slidenum">
              <a:rPr lang="en-US" altLang="en-US" sz="1200"/>
              <a:pPr/>
              <a:t>31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129499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18FC5-A799-4A09-B054-9C2A7A691AF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279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620B57-0A7D-4BDB-864C-8778BE3B858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99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18FC5-A799-4A09-B054-9C2A7A691AF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272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18FC5-A799-4A09-B054-9C2A7A691AF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632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868" indent="-285718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2874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023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174" indent="-22857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470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8621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fld id="{FE88EDF7-AF4B-4FEB-AC6B-9C22D02D9F46}" type="slidenum">
              <a:rPr lang="en-US" altLang="en-US" sz="1200"/>
              <a:pPr/>
              <a:t>8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071906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E18FC5-A799-4A09-B054-9C2A7A691AF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089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09" indent="-285734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2937" indent="-228587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111" indent="-228587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287" indent="-228587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fld id="{7D756BA7-986A-4FDE-AE58-D108E38718DF}" type="slidenum">
              <a:rPr lang="en-US" altLang="en-US" sz="1200"/>
              <a:pPr/>
              <a:t>10</a:t>
            </a:fld>
            <a:endParaRPr lang="en-US" altLang="en-US" sz="1200"/>
          </a:p>
        </p:txBody>
      </p:sp>
    </p:spTree>
    <p:extLst>
      <p:ext uri="{BB962C8B-B14F-4D97-AF65-F5344CB8AC3E}">
        <p14:creationId xmlns:p14="http://schemas.microsoft.com/office/powerpoint/2010/main" val="3913864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57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001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166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-13648" y="-40944"/>
            <a:ext cx="9144000" cy="2209800"/>
          </a:xfrm>
          <a:prstGeom prst="rect">
            <a:avLst/>
          </a:prstGeom>
          <a:solidFill>
            <a:srgbClr val="005395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1637" y="1932857"/>
            <a:ext cx="3816327" cy="416023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>
                <a:latin typeface="Arial Narrow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31637" y="888104"/>
            <a:ext cx="3816327" cy="1044753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100000"/>
              </a:lnSpc>
              <a:defRPr sz="2800" b="0" spc="0" baseline="0">
                <a:solidFill>
                  <a:srgbClr val="000000"/>
                </a:solidFill>
                <a:latin typeface="Arial Narrow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381000"/>
            <a:ext cx="2438400" cy="100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051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800" y="1680211"/>
            <a:ext cx="8229340" cy="4701540"/>
          </a:xfrm>
        </p:spPr>
        <p:txBody>
          <a:bodyPr/>
          <a:lstStyle>
            <a:lvl1pPr>
              <a:defRPr/>
            </a:lvl1pPr>
            <a:lvl2pPr>
              <a:defRPr sz="1800"/>
            </a:lvl2pPr>
            <a:lvl3pPr>
              <a:defRPr sz="1600"/>
            </a:lvl3pPr>
            <a:lvl4pPr>
              <a:defRPr sz="1400" baseline="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Slide copy uses this color (20pt)</a:t>
            </a:r>
          </a:p>
          <a:p>
            <a:pPr lvl="1"/>
            <a:r>
              <a:rPr lang="en-US" dirty="0" smtClean="0"/>
              <a:t>Bullet point level 1 (18pt)</a:t>
            </a:r>
          </a:p>
          <a:p>
            <a:pPr lvl="2"/>
            <a:r>
              <a:rPr lang="en-US" dirty="0" smtClean="0"/>
              <a:t>Bullet point level 2 (16pt)</a:t>
            </a:r>
          </a:p>
          <a:p>
            <a:pPr lvl="3"/>
            <a:r>
              <a:rPr lang="en-US" dirty="0" smtClean="0"/>
              <a:t>Bullet point level 3 (14pt)</a:t>
            </a:r>
          </a:p>
          <a:p>
            <a:pPr lvl="4"/>
            <a:r>
              <a:rPr lang="en-US" dirty="0" smtClean="0"/>
              <a:t>Bullet point level 4 (12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1801" y="171544"/>
            <a:ext cx="8229340" cy="74285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3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GB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31801" y="1130437"/>
            <a:ext cx="8229340" cy="386054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800" b="1" dirty="0" smtClean="0">
                <a:solidFill>
                  <a:schemeClr val="accent3">
                    <a:lumMod val="90000"/>
                    <a:lumOff val="10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Sub-head uses this color (18pt)</a:t>
            </a:r>
          </a:p>
        </p:txBody>
      </p:sp>
    </p:spTree>
    <p:extLst>
      <p:ext uri="{BB962C8B-B14F-4D97-AF65-F5344CB8AC3E}">
        <p14:creationId xmlns:p14="http://schemas.microsoft.com/office/powerpoint/2010/main" val="2381498095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1456" y="1376364"/>
            <a:ext cx="8254232" cy="500538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 smtClean="0"/>
              <a:t>Slide copy uses this color (20pt)</a:t>
            </a:r>
          </a:p>
          <a:p>
            <a:pPr lvl="1"/>
            <a:r>
              <a:rPr lang="en-US" dirty="0" smtClean="0"/>
              <a:t>Bullet point level 1 (18pt)</a:t>
            </a:r>
          </a:p>
          <a:p>
            <a:pPr lvl="2"/>
            <a:r>
              <a:rPr lang="en-US" dirty="0" smtClean="0"/>
              <a:t>Bullet point level 2 (16pt)</a:t>
            </a:r>
          </a:p>
          <a:p>
            <a:pPr lvl="3"/>
            <a:r>
              <a:rPr lang="en-US" dirty="0" smtClean="0"/>
              <a:t>Bullet point level 3 (14pt)</a:t>
            </a:r>
          </a:p>
          <a:p>
            <a:pPr lvl="4"/>
            <a:r>
              <a:rPr lang="en-US" dirty="0" smtClean="0"/>
              <a:t>Bullet point level 4 (12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1800" y="171544"/>
            <a:ext cx="8243888" cy="742856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781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432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0245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637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9902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338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9767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59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50BA9B17-3F00-4949-8F2F-F92903BE51B3}" type="datetimeFigureOut">
              <a:rPr lang="en-US" smtClean="0"/>
              <a:t>11/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8681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86817"/>
            <a:ext cx="2133600" cy="365125"/>
          </a:xfrm>
          <a:prstGeom prst="rect">
            <a:avLst/>
          </a:prstGeom>
        </p:spPr>
        <p:txBody>
          <a:bodyPr/>
          <a:lstStyle/>
          <a:p>
            <a:fld id="{DFF34BD2-8424-451D-9614-A79B44AF25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9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/>
          <p:cNvSpPr>
            <a:spLocks/>
          </p:cNvSpPr>
          <p:nvPr userDrawn="1"/>
        </p:nvSpPr>
        <p:spPr bwMode="auto">
          <a:xfrm>
            <a:off x="0" y="6172199"/>
            <a:ext cx="6629400" cy="594360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lIns="0" tIns="0" rIns="0" bIns="0"/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 sz="4300" dirty="0">
              <a:solidFill>
                <a:srgbClr val="000000"/>
              </a:solidFill>
            </a:endParaRPr>
          </a:p>
        </p:txBody>
      </p:sp>
      <p:sp>
        <p:nvSpPr>
          <p:cNvPr id="18" name="Rectangle 2"/>
          <p:cNvSpPr>
            <a:spLocks/>
          </p:cNvSpPr>
          <p:nvPr userDrawn="1"/>
        </p:nvSpPr>
        <p:spPr bwMode="auto">
          <a:xfrm>
            <a:off x="6725920" y="6172199"/>
            <a:ext cx="2423160" cy="59436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xtLst/>
        </p:spPr>
        <p:txBody>
          <a:bodyPr lIns="0" tIns="0" rIns="0" bIns="0"/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 sz="4300" dirty="0">
              <a:solidFill>
                <a:srgbClr val="000000"/>
              </a:solidFill>
            </a:endParaRPr>
          </a:p>
        </p:txBody>
      </p:sp>
      <p:pic>
        <p:nvPicPr>
          <p:cNvPr id="19" name="Picture 9" descr="\\ofm\gwu\Directors_Office\Communications\ResultsWA\salmon_icon.fw.png"/>
          <p:cNvPicPr>
            <a:picLocks noChangeAspect="1" noChangeArrowheads="1"/>
          </p:cNvPicPr>
          <p:nvPr userDrawn="1"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8226" y="6260014"/>
            <a:ext cx="390256" cy="41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\\ofm\gwu\Directors_Office\Communications\ResultsWA\student dark green.fw.png"/>
          <p:cNvPicPr>
            <a:picLocks noChangeAspect="1" noChangeArrowheads="1"/>
          </p:cNvPicPr>
          <p:nvPr userDrawn="1"/>
        </p:nvPicPr>
        <p:blipFill>
          <a:blip r:embed="rId1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007" y="6260015"/>
            <a:ext cx="467511" cy="418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1" descr="\\ofm\gwu\Directors_Office\Communications\ResultsWA\Construction.fw.png"/>
          <p:cNvPicPr>
            <a:picLocks noChangeAspect="1" noChangeArrowheads="1"/>
          </p:cNvPicPr>
          <p:nvPr userDrawn="1"/>
        </p:nvPicPr>
        <p:blipFill>
          <a:blip r:embed="rId1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030" y="6260014"/>
            <a:ext cx="341684" cy="41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" descr="\\ofm\gwu\Directors_Office\Communications\ResultsWA\Family.fw.png"/>
          <p:cNvPicPr>
            <a:picLocks noChangeAspect="1" noChangeArrowheads="1"/>
          </p:cNvPicPr>
          <p:nvPr userDrawn="1"/>
        </p:nvPicPr>
        <p:blipFill>
          <a:blip r:embed="rId1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994" y="6260015"/>
            <a:ext cx="504359" cy="418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3" descr="\\ofm\gwu\Directors_Office\Communications\ResultsWA\gov dark green.fw.png"/>
          <p:cNvPicPr>
            <a:picLocks noChangeAspect="1" noChangeArrowheads="1"/>
          </p:cNvPicPr>
          <p:nvPr userDrawn="1"/>
        </p:nvPicPr>
        <p:blipFill>
          <a:blip r:embed="rId1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3867" y="6260014"/>
            <a:ext cx="578058" cy="418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136380" cy="608075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6907" y="274638"/>
            <a:ext cx="802829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600200"/>
            <a:ext cx="8077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400" y="6191250"/>
            <a:ext cx="1346200" cy="55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304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13"/>
          <p:cNvSpPr txBox="1">
            <a:spLocks/>
          </p:cNvSpPr>
          <p:nvPr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latin typeface="Arial Narrow" pitchFamily="34" charset="0"/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31540" y="150906"/>
            <a:ext cx="8229600" cy="76349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Slide title: uses this font color (24pt)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31800" y="1066800"/>
            <a:ext cx="8229340" cy="5502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Slide copy uses this color (20pt)</a:t>
            </a:r>
          </a:p>
          <a:p>
            <a:pPr lvl="1"/>
            <a:r>
              <a:rPr lang="en-US" dirty="0" smtClean="0"/>
              <a:t>Bullet point level 1 (18pt)</a:t>
            </a:r>
          </a:p>
          <a:p>
            <a:pPr lvl="2"/>
            <a:r>
              <a:rPr lang="en-US" dirty="0" smtClean="0"/>
              <a:t>Bullet point level 2 (16pt)</a:t>
            </a:r>
          </a:p>
          <a:p>
            <a:pPr lvl="3"/>
            <a:r>
              <a:rPr lang="en-US" dirty="0" smtClean="0"/>
              <a:t>Bullet point level 3 (14pt)</a:t>
            </a:r>
          </a:p>
          <a:p>
            <a:pPr lvl="4"/>
            <a:r>
              <a:rPr lang="en-US" dirty="0" smtClean="0"/>
              <a:t>Bullet point level 4 (12pt)</a:t>
            </a:r>
            <a:endParaRPr lang="en-GB" dirty="0" smtClean="0"/>
          </a:p>
          <a:p>
            <a:endParaRPr lang="en-US" dirty="0"/>
          </a:p>
        </p:txBody>
      </p:sp>
      <p:sp>
        <p:nvSpPr>
          <p:cNvPr id="12" name="Inhaltsplatzhalter 13"/>
          <p:cNvSpPr txBox="1">
            <a:spLocks/>
          </p:cNvSpPr>
          <p:nvPr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latin typeface="Arial Narrow" pitchFamily="34" charset="0"/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latin typeface="Arial Narrow" pitchFamily="34" charset="0"/>
              <a:cs typeface="Arial" pitchFamily="34" charset="0"/>
            </a:endParaRP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31540" y="914400"/>
            <a:ext cx="8707698" cy="15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950" y="111825"/>
            <a:ext cx="1751982" cy="719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20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 Narrow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8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sults.wa.gov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7.png"/><Relationship Id="rId4" Type="http://schemas.openxmlformats.org/officeDocument/2006/relationships/hyperlink" Target="mailto:Results@gov.wa.gov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audio" Target="../media/audio1.wav"/><Relationship Id="rId7" Type="http://schemas.openxmlformats.org/officeDocument/2006/relationships/hyperlink" Target="http://www.results.wa.gov/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results@gov.wa.gov" TargetMode="External"/><Relationship Id="rId5" Type="http://schemas.openxmlformats.org/officeDocument/2006/relationships/hyperlink" Target="mailto:Todd.macdonald@gov.wa.gov" TargetMode="External"/><Relationship Id="rId4" Type="http://schemas.openxmlformats.org/officeDocument/2006/relationships/hyperlink" Target="mailto:Kaylyne.newell@gov.wa.gov" TargetMode="External"/><Relationship Id="rId9" Type="http://schemas.openxmlformats.org/officeDocument/2006/relationships/audio" Target="../media/audio1.wav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3"/>
          <p:cNvSpPr>
            <a:spLocks/>
          </p:cNvSpPr>
          <p:nvPr/>
        </p:nvSpPr>
        <p:spPr bwMode="auto">
          <a:xfrm>
            <a:off x="1998018" y="187524"/>
            <a:ext cx="7134820" cy="678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endParaRPr lang="en-US" altLang="en-US" sz="4000" b="1" dirty="0">
              <a:solidFill>
                <a:srgbClr val="205495"/>
              </a:solidFill>
              <a:latin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054" name="Rectangle 5"/>
          <p:cNvSpPr>
            <a:spLocks/>
          </p:cNvSpPr>
          <p:nvPr/>
        </p:nvSpPr>
        <p:spPr bwMode="auto">
          <a:xfrm>
            <a:off x="3741539" y="2221319"/>
            <a:ext cx="803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endParaRPr lang="en-US" altLang="en-US" sz="800" dirty="0">
              <a:latin typeface="Times" charset="0"/>
              <a:cs typeface="Times" charset="0"/>
              <a:sym typeface="Times" charset="0"/>
            </a:endParaRPr>
          </a:p>
          <a:p>
            <a:pPr eaLnBrk="1" hangingPunct="1"/>
            <a:endParaRPr lang="en-US" altLang="en-US" sz="3000" dirty="0">
              <a:ea typeface="Gill Sans" charset="0"/>
              <a:cs typeface="Gill Sans" charset="0"/>
            </a:endParaRPr>
          </a:p>
        </p:txBody>
      </p:sp>
      <p:sp>
        <p:nvSpPr>
          <p:cNvPr id="2055" name="TextBox 1"/>
          <p:cNvSpPr txBox="1">
            <a:spLocks noChangeArrowheads="1"/>
          </p:cNvSpPr>
          <p:nvPr/>
        </p:nvSpPr>
        <p:spPr bwMode="auto">
          <a:xfrm>
            <a:off x="614029" y="517358"/>
            <a:ext cx="7905684" cy="5235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4291" tIns="32146" rIns="64291" bIns="32146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 sz="6000" b="1" dirty="0" smtClean="0">
              <a:latin typeface="Arial Narrow" panose="020B0606020202030204" pitchFamily="34" charset="0"/>
            </a:endParaRPr>
          </a:p>
          <a:p>
            <a:pPr eaLnBrk="1" hangingPunct="1"/>
            <a:endParaRPr lang="en-US" altLang="en-US" sz="6000" b="1" dirty="0" smtClean="0">
              <a:latin typeface="Arial Narrow" panose="020B0606020202030204" pitchFamily="34" charset="0"/>
            </a:endParaRPr>
          </a:p>
          <a:p>
            <a:pPr eaLnBrk="1" hangingPunct="1"/>
            <a:r>
              <a:rPr lang="en-US" altLang="en-US" sz="6000" b="1" dirty="0" smtClean="0">
                <a:latin typeface="Arial Narrow" panose="020B0606020202030204" pitchFamily="34" charset="0"/>
              </a:rPr>
              <a:t>Results </a:t>
            </a:r>
            <a:r>
              <a:rPr lang="en-US" altLang="en-US" sz="6000" b="1" dirty="0">
                <a:latin typeface="Arial Narrow" panose="020B0606020202030204" pitchFamily="34" charset="0"/>
              </a:rPr>
              <a:t>Washington </a:t>
            </a:r>
          </a:p>
          <a:p>
            <a:endParaRPr lang="en-US" altLang="en-US" sz="3200" b="1" i="1" dirty="0" smtClean="0">
              <a:latin typeface="Arial Narrow" panose="020B0606020202030204" pitchFamily="34" charset="0"/>
            </a:endParaRPr>
          </a:p>
          <a:p>
            <a:pPr eaLnBrk="1" hangingPunct="1"/>
            <a:endParaRPr lang="en-US" altLang="en-US" sz="2000" b="1" dirty="0" smtClean="0">
              <a:latin typeface="Arial Narrow" panose="020B0606020202030204" pitchFamily="34" charset="0"/>
            </a:endParaRPr>
          </a:p>
          <a:p>
            <a:pPr eaLnBrk="1" hangingPunct="1"/>
            <a:r>
              <a:rPr lang="en-US" altLang="en-US" sz="2800" b="1" dirty="0" smtClean="0">
                <a:latin typeface="Arial Narrow" panose="020B0606020202030204" pitchFamily="34" charset="0"/>
              </a:rPr>
              <a:t>KayLyne Newell, Sr. Performance Advisor</a:t>
            </a:r>
          </a:p>
          <a:p>
            <a:r>
              <a:rPr lang="en-US" altLang="en-US" sz="2800" b="1" dirty="0" smtClean="0">
                <a:latin typeface="Arial Narrow" panose="020B0606020202030204" pitchFamily="34" charset="0"/>
              </a:rPr>
              <a:t>Todd MacDonald, Enterprise </a:t>
            </a:r>
            <a:r>
              <a:rPr lang="en-US" sz="2800" b="1" dirty="0" smtClean="0">
                <a:latin typeface="Arial Narrow" panose="020B0606020202030204" pitchFamily="34" charset="0"/>
              </a:rPr>
              <a:t>Transformation Architect </a:t>
            </a:r>
            <a:endParaRPr lang="en-US" altLang="en-US" sz="2800" b="1" dirty="0">
              <a:latin typeface="Arial Narrow" panose="020B0606020202030204" pitchFamily="34" charset="0"/>
            </a:endParaRPr>
          </a:p>
          <a:p>
            <a:pPr eaLnBrk="1" hangingPunct="1"/>
            <a:r>
              <a:rPr lang="en-US" altLang="en-US" sz="2800" b="1" dirty="0" smtClean="0">
                <a:latin typeface="Arial Narrow" panose="020B0606020202030204" pitchFamily="34" charset="0"/>
              </a:rPr>
              <a:t>Office of Governor Jay Inslee</a:t>
            </a:r>
          </a:p>
          <a:p>
            <a:pPr eaLnBrk="1" hangingPunct="1"/>
            <a:endParaRPr lang="en-US" altLang="en-US" sz="2000" dirty="0">
              <a:latin typeface="Arial Narrow" panose="020B060602020203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-7030" y="0"/>
            <a:ext cx="9139868" cy="1159189"/>
            <a:chOff x="9525" y="2787957"/>
            <a:chExt cx="9139868" cy="115918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5" y="2787957"/>
              <a:ext cx="1642870" cy="1159189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7800" y="2787957"/>
              <a:ext cx="1633345" cy="1159189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5600" y="2787957"/>
              <a:ext cx="1676400" cy="115918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3400" y="2787958"/>
              <a:ext cx="1649033" cy="1153972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7928" y="2787957"/>
              <a:ext cx="1685540" cy="1159189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3468" y="2787957"/>
              <a:ext cx="1685925" cy="11539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8651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8" name="Rectangle 5"/>
          <p:cNvSpPr>
            <a:spLocks/>
          </p:cNvSpPr>
          <p:nvPr/>
        </p:nvSpPr>
        <p:spPr bwMode="auto">
          <a:xfrm>
            <a:off x="3741539" y="2526120"/>
            <a:ext cx="803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endParaRPr lang="en-US" altLang="en-US" sz="800">
              <a:latin typeface="Times" charset="0"/>
              <a:cs typeface="Times" charset="0"/>
              <a:sym typeface="Times" charset="0"/>
            </a:endParaRPr>
          </a:p>
          <a:p>
            <a:pPr eaLnBrk="1" hangingPunct="1"/>
            <a:endParaRPr lang="en-US" altLang="en-US" sz="3000">
              <a:ea typeface="Gill Sans" charset="0"/>
              <a:cs typeface="Gill Sans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236577412"/>
              </p:ext>
            </p:extLst>
          </p:nvPr>
        </p:nvGraphicFramePr>
        <p:xfrm>
          <a:off x="0" y="1371600"/>
          <a:ext cx="9144000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sz="3200" dirty="0" smtClean="0">
                <a:solidFill>
                  <a:schemeClr val="tx1"/>
                </a:solidFill>
              </a:rPr>
              <a:t>What is “Lean Thinking”</a:t>
            </a:r>
            <a:endParaRPr lang="en-US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50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09600" y="1600200"/>
            <a:ext cx="8794143" cy="2862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/>
              <a:t>A continuous improvement methodology: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Facilitates environment of 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RESPECT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/>
              <a:t>Focuses </a:t>
            </a:r>
            <a:r>
              <a:rPr lang="en-US" sz="2400" dirty="0"/>
              <a:t>on the </a:t>
            </a:r>
            <a:r>
              <a:rPr lang="en-US" sz="2400" dirty="0">
                <a:solidFill>
                  <a:schemeClr val="accent6">
                    <a:lumMod val="75000"/>
                  </a:schemeClr>
                </a:solidFill>
              </a:rPr>
              <a:t>CUSTOMER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 smtClean="0"/>
              <a:t>Encourages a “why</a:t>
            </a:r>
            <a:r>
              <a:rPr lang="en-US" sz="2400" dirty="0" smtClean="0"/>
              <a:t>” </a:t>
            </a:r>
            <a:r>
              <a:rPr lang="en-US" sz="2400" dirty="0" smtClean="0">
                <a:solidFill>
                  <a:schemeClr val="accent6">
                    <a:lumMod val="75000"/>
                  </a:schemeClr>
                </a:solidFill>
              </a:rPr>
              <a:t>MINDSET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A</a:t>
            </a:r>
            <a:r>
              <a:rPr lang="en-US" sz="2400" dirty="0" smtClean="0"/>
              <a:t>ctively identifies and helps eliminate </a:t>
            </a:r>
            <a:r>
              <a:rPr lang="en-US" sz="2400" dirty="0" smtClean="0">
                <a:solidFill>
                  <a:schemeClr val="accent6">
                    <a:lumMod val="75000"/>
                  </a:schemeClr>
                </a:solidFill>
              </a:rPr>
              <a:t>WASTE</a:t>
            </a:r>
            <a:endParaRPr lang="en-US" sz="2400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What </a:t>
            </a:r>
            <a:r>
              <a:rPr lang="en-US" sz="3200" dirty="0" smtClean="0"/>
              <a:t>is Lean?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4648200"/>
            <a:ext cx="2514600" cy="1487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31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n Wast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33" y="1752600"/>
            <a:ext cx="7997291" cy="4730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9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solidFill>
                  <a:schemeClr val="tx1"/>
                </a:solidFill>
              </a:rPr>
              <a:t>Key Lean </a:t>
            </a:r>
            <a:r>
              <a:rPr lang="en-US" sz="3200" dirty="0" smtClean="0">
                <a:solidFill>
                  <a:schemeClr val="tx1"/>
                </a:solidFill>
              </a:rPr>
              <a:t>Concepts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81000" y="1219200"/>
            <a:ext cx="8435359" cy="3970318"/>
          </a:xfrm>
          <a:prstGeom prst="rect">
            <a:avLst/>
          </a:prstGeom>
          <a:noFill/>
          <a:ln w="25400">
            <a:noFill/>
          </a:ln>
        </p:spPr>
        <p:txBody>
          <a:bodyPr wrap="square">
            <a:spAutoFit/>
          </a:bodyPr>
          <a:lstStyle/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Problems are opportunities </a:t>
            </a:r>
          </a:p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Leaders go to the problem to SEE </a:t>
            </a:r>
            <a:r>
              <a:rPr lang="en-US" sz="2400" dirty="0"/>
              <a:t>what’s </a:t>
            </a:r>
            <a:r>
              <a:rPr lang="en-US" sz="2400" dirty="0" smtClean="0"/>
              <a:t>happening</a:t>
            </a:r>
            <a:endParaRPr lang="en-US" sz="2400" dirty="0"/>
          </a:p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Focus on process and </a:t>
            </a:r>
            <a:r>
              <a:rPr lang="en-US" sz="2400" dirty="0" smtClean="0"/>
              <a:t>standard work is sought</a:t>
            </a:r>
            <a:endParaRPr lang="en-US" sz="2400" dirty="0"/>
          </a:p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People/teams are developed and maximized</a:t>
            </a:r>
            <a:endParaRPr lang="en-US" sz="2400" dirty="0"/>
          </a:p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Staff are empowered to learn </a:t>
            </a:r>
            <a:r>
              <a:rPr lang="en-US" sz="2400" dirty="0"/>
              <a:t>by doing</a:t>
            </a:r>
          </a:p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kern="0" dirty="0" smtClean="0">
                <a:ea typeface="ＭＳ Ｐゴシック" charset="0"/>
                <a:cs typeface="ＭＳ Ｐゴシック" charset="0"/>
              </a:rPr>
              <a:t>Customer value is the goal </a:t>
            </a:r>
            <a:endParaRPr lang="en-US" sz="2400" kern="0" dirty="0">
              <a:ea typeface="ＭＳ Ｐゴシック" charset="0"/>
              <a:cs typeface="ＭＳ Ｐゴシック" charset="0"/>
            </a:endParaRPr>
          </a:p>
          <a:p>
            <a:pPr marL="231775" lvl="0" indent="-231775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kern="0" dirty="0" smtClean="0">
                <a:ea typeface="ＭＳ Ｐゴシック" charset="0"/>
                <a:cs typeface="ＭＳ Ｐゴシック" charset="0"/>
              </a:rPr>
              <a:t>Respect </a:t>
            </a:r>
            <a:r>
              <a:rPr lang="en-US" sz="2400" kern="0" dirty="0">
                <a:ea typeface="ＭＳ Ｐゴシック" charset="0"/>
                <a:cs typeface="ＭＳ Ｐゴシック" charset="0"/>
              </a:rPr>
              <a:t>and </a:t>
            </a:r>
            <a:r>
              <a:rPr lang="en-US" sz="2400" kern="0" dirty="0" smtClean="0">
                <a:ea typeface="ＭＳ Ｐゴシック" charset="0"/>
                <a:cs typeface="ＭＳ Ｐゴシック" charset="0"/>
              </a:rPr>
              <a:t>humility are the culture</a:t>
            </a:r>
            <a:endParaRPr lang="en-US" sz="2400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8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sosceles Triangle 4"/>
          <p:cNvSpPr/>
          <p:nvPr/>
        </p:nvSpPr>
        <p:spPr>
          <a:xfrm rot="10800000">
            <a:off x="4191001" y="1455738"/>
            <a:ext cx="4495800" cy="45720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2218415"/>
              </p:ext>
            </p:extLst>
          </p:nvPr>
        </p:nvGraphicFramePr>
        <p:xfrm>
          <a:off x="723900" y="156495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832845" y="2778005"/>
            <a:ext cx="990600" cy="461665"/>
          </a:xfrm>
          <a:prstGeom prst="rect">
            <a:avLst/>
          </a:prstGeom>
          <a:solidFill>
            <a:schemeClr val="bg1">
              <a:alpha val="78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 smtClean="0">
                <a:latin typeface="Gill Sans MT" pitchFamily="34" charset="0"/>
                <a:cs typeface="Arial" pitchFamily="34" charset="0"/>
              </a:rPr>
              <a:t>Lean</a:t>
            </a:r>
            <a:endParaRPr lang="en-US" sz="2400" b="1" i="1" dirty="0"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693920" y="1516698"/>
            <a:ext cx="3444240" cy="929640"/>
          </a:xfrm>
          <a:prstGeom prst="roundRect">
            <a:avLst/>
          </a:prstGeom>
          <a:solidFill>
            <a:schemeClr val="lt1">
              <a:hueOff val="0"/>
              <a:satOff val="0"/>
              <a:lumOff val="0"/>
              <a:alpha val="71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TextBox 8"/>
          <p:cNvSpPr txBox="1"/>
          <p:nvPr/>
        </p:nvSpPr>
        <p:spPr>
          <a:xfrm>
            <a:off x="1844592" y="4223082"/>
            <a:ext cx="2514600" cy="461665"/>
          </a:xfrm>
          <a:prstGeom prst="rect">
            <a:avLst/>
          </a:prstGeom>
          <a:solidFill>
            <a:schemeClr val="bg1">
              <a:alpha val="78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 smtClean="0">
                <a:latin typeface="Gill Sans MT" pitchFamily="34" charset="0"/>
                <a:cs typeface="Arial" pitchFamily="34" charset="0"/>
              </a:rPr>
              <a:t>Conventional</a:t>
            </a:r>
            <a:endParaRPr lang="en-US" sz="2400" b="1" i="1" dirty="0"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95800" y="1577658"/>
            <a:ext cx="3886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latin typeface="Gill Sans MT" pitchFamily="34" charset="0"/>
                <a:cs typeface="Arial" pitchFamily="34" charset="0"/>
              </a:rPr>
              <a:t>Employees </a:t>
            </a:r>
            <a:r>
              <a:rPr lang="en-US" sz="1600" dirty="0" smtClean="0">
                <a:latin typeface="Gill Sans MT" pitchFamily="34" charset="0"/>
                <a:cs typeface="Arial" pitchFamily="34" charset="0"/>
              </a:rPr>
              <a:t>are problem </a:t>
            </a:r>
            <a:r>
              <a:rPr lang="en-US" sz="1600" dirty="0" smtClean="0">
                <a:latin typeface="Gill Sans MT" pitchFamily="34" charset="0"/>
                <a:cs typeface="Arial" pitchFamily="34" charset="0"/>
              </a:rPr>
              <a:t>solvers, </a:t>
            </a:r>
          </a:p>
          <a:p>
            <a:pPr algn="ctr"/>
            <a:r>
              <a:rPr lang="en-US" sz="1600" dirty="0" smtClean="0">
                <a:latin typeface="Gill Sans MT" pitchFamily="34" charset="0"/>
                <a:cs typeface="Arial" pitchFamily="34" charset="0"/>
              </a:rPr>
              <a:t>trusted and respected as capable and knowledgeable.</a:t>
            </a:r>
            <a:endParaRPr lang="en-US" sz="1600" dirty="0"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n Man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790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  <a:buNone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Lean is more than just tools…</a:t>
            </a:r>
            <a:endParaRPr lang="en-US" sz="28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5138" indent="-465138"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defRPr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eople operate without fear </a:t>
            </a:r>
          </a:p>
          <a:p>
            <a:pPr marL="465138" indent="-465138">
              <a:lnSpc>
                <a:spcPct val="100000"/>
              </a:lnSpc>
              <a:spcBef>
                <a:spcPts val="600"/>
              </a:spcBef>
              <a:spcAft>
                <a:spcPts val="1800"/>
              </a:spcAft>
              <a:defRPr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Management allows time for Lean efforts</a:t>
            </a:r>
          </a:p>
          <a:p>
            <a:pPr marL="465138" indent="-4651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mployees turn to the Lean tools without prompting</a:t>
            </a:r>
          </a:p>
          <a:p>
            <a:pPr marL="465138" indent="-465138">
              <a:lnSpc>
                <a:spcPct val="150000"/>
              </a:lnSpc>
              <a:spcBef>
                <a:spcPts val="600"/>
              </a:spcBef>
              <a:spcAft>
                <a:spcPts val="1800"/>
              </a:spcAft>
              <a:defRPr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veryone feels ownership of a proces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What is a “Lean Culture”</a:t>
            </a:r>
            <a:endParaRPr lang="en-US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459014" y="5791200"/>
            <a:ext cx="8229600" cy="116955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lvl="0" algn="ctr"/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</a:rPr>
              <a:t>The Lean approach respects people and honors their contributions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50228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-76200"/>
            <a:ext cx="9744655" cy="7010400"/>
          </a:xfrm>
          <a:prstGeom prst="rect">
            <a:avLst/>
          </a:prstGeom>
        </p:spPr>
      </p:pic>
      <p:sp>
        <p:nvSpPr>
          <p:cNvPr id="10" name="Content Placeholder 1"/>
          <p:cNvSpPr>
            <a:spLocks noGrp="1"/>
          </p:cNvSpPr>
          <p:nvPr>
            <p:ph idx="1"/>
          </p:nvPr>
        </p:nvSpPr>
        <p:spPr>
          <a:xfrm>
            <a:off x="444884" y="1675"/>
            <a:ext cx="8254232" cy="11430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sz="6000" dirty="0" smtClean="0"/>
              <a:t>A pause for questions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1805665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tool to take ho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isual Man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9538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 smtClean="0"/>
              <a:t>What visual management is and why it is important</a:t>
            </a:r>
          </a:p>
          <a:p>
            <a:r>
              <a:rPr lang="en-US" sz="3200" dirty="0" smtClean="0"/>
              <a:t>Recognize good examples of visual management</a:t>
            </a:r>
          </a:p>
          <a:p>
            <a:r>
              <a:rPr lang="en-US" sz="3200" dirty="0" smtClean="0"/>
              <a:t>Learn how to put visual management to work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Visual Management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3200400"/>
            <a:ext cx="4572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41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81000" y="1313795"/>
            <a:ext cx="518160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/>
              <a:t>A </a:t>
            </a:r>
            <a:r>
              <a:rPr lang="en-US" sz="2800" dirty="0" smtClean="0"/>
              <a:t>strategy </a:t>
            </a:r>
            <a:r>
              <a:rPr lang="en-US" sz="2800" dirty="0" smtClean="0"/>
              <a:t>for </a:t>
            </a:r>
            <a:r>
              <a:rPr lang="en-US" sz="2800" dirty="0" smtClean="0"/>
              <a:t>planning</a:t>
            </a:r>
            <a:r>
              <a:rPr lang="en-US" sz="2800" dirty="0"/>
              <a:t>, control, and continuous improvement that </a:t>
            </a:r>
            <a:r>
              <a:rPr lang="en-US" sz="2800" dirty="0" smtClean="0"/>
              <a:t>integrates</a:t>
            </a:r>
          </a:p>
          <a:p>
            <a:r>
              <a:rPr lang="en-US" sz="2800" dirty="0" smtClean="0"/>
              <a:t>  </a:t>
            </a: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Simple </a:t>
            </a:r>
            <a:r>
              <a:rPr lang="en-US" sz="2800" dirty="0"/>
              <a:t>visual tools that enable understanding at a glance </a:t>
            </a:r>
            <a:r>
              <a:rPr lang="en-US" sz="2800" dirty="0" smtClean="0"/>
              <a:t> </a:t>
            </a: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Allows you to see the abnormal state from the normal state</a:t>
            </a:r>
            <a:endParaRPr lang="en-US" sz="2800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 rot="16200000">
            <a:off x="-3048001" y="3048000"/>
            <a:ext cx="6858000" cy="76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What is Visual Management?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0" y="2057400"/>
            <a:ext cx="2696934" cy="374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9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81000" y="1143000"/>
            <a:ext cx="822960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Washingto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goal area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king and tool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 managemen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n discussion / stori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s</a:t>
            </a:r>
            <a:endParaRPr lang="en-US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 for Tod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40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2000" y="1567473"/>
            <a:ext cx="8218206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Provides “understanding at a glance”</a:t>
            </a:r>
          </a:p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Uses graphics to tell a story</a:t>
            </a:r>
          </a:p>
          <a:p>
            <a:pPr>
              <a:lnSpc>
                <a:spcPts val="2700"/>
              </a:lnSpc>
            </a:pPr>
            <a:endParaRPr lang="en-US" sz="2800" dirty="0" smtClean="0"/>
          </a:p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Identifies the standard </a:t>
            </a:r>
          </a:p>
          <a:p>
            <a:pPr>
              <a:lnSpc>
                <a:spcPts val="2700"/>
              </a:lnSpc>
            </a:pPr>
            <a:endParaRPr lang="en-US" sz="2800" dirty="0" smtClean="0"/>
          </a:p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Provides trigger that something is abnormal</a:t>
            </a:r>
          </a:p>
          <a:p>
            <a:pPr>
              <a:lnSpc>
                <a:spcPts val="2700"/>
              </a:lnSpc>
            </a:pPr>
            <a:endParaRPr lang="en-US" sz="2800" dirty="0" smtClean="0"/>
          </a:p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r>
              <a:rPr lang="en-US" sz="2800" dirty="0" smtClean="0"/>
              <a:t>Gives a reason to ask “why”?</a:t>
            </a:r>
          </a:p>
          <a:p>
            <a:pPr marL="342900" indent="-342900">
              <a:lnSpc>
                <a:spcPts val="2700"/>
              </a:lnSpc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endParaRPr lang="en-US" sz="2800" dirty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 rot="16200000">
            <a:off x="-3048001" y="3048000"/>
            <a:ext cx="6858000" cy="76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Effective Visual Man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180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F147C5D-38C8-4EC9-A0B5-7A6A30ED810D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 rot="16200000">
            <a:off x="-3048001" y="3048000"/>
            <a:ext cx="6858000" cy="76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79" t="58772" r="4672" b="7662"/>
          <a:stretch/>
        </p:blipFill>
        <p:spPr bwMode="auto">
          <a:xfrm>
            <a:off x="5715000" y="2286000"/>
            <a:ext cx="3154822" cy="2749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800" y="1424722"/>
            <a:ext cx="5029200" cy="4976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Understanding at a Gla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446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 rot="16200000">
            <a:off x="-3048001" y="3048000"/>
            <a:ext cx="6858000" cy="76200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They don’t have to hang on a wal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524000"/>
            <a:ext cx="3429000" cy="36727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0200" y="4165894"/>
            <a:ext cx="3092542" cy="2061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468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838200" y="3048000"/>
            <a:ext cx="8305800" cy="205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3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000" dirty="0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Standard visuals simplify </a:t>
            </a:r>
            <a:r>
              <a:rPr lang="en-US" dirty="0" smtClean="0"/>
              <a:t>things…usually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4096" y="1179762"/>
            <a:ext cx="4455807" cy="449847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4265058"/>
            <a:ext cx="1328737" cy="1413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898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838200" y="3048000"/>
            <a:ext cx="8305800" cy="205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accent3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4000" dirty="0"/>
          </a:p>
        </p:txBody>
      </p:sp>
      <p:sp>
        <p:nvSpPr>
          <p:cNvPr id="9" name="Rectangle 8"/>
          <p:cNvSpPr/>
          <p:nvPr/>
        </p:nvSpPr>
        <p:spPr>
          <a:xfrm>
            <a:off x="457200" y="1170325"/>
            <a:ext cx="82296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Is the information on your visual important? </a:t>
            </a: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Is your visual easy to understand?</a:t>
            </a:r>
          </a:p>
          <a:p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Does your visual drive improvement?</a:t>
            </a:r>
          </a:p>
          <a:p>
            <a:endParaRPr lang="en-US" sz="2600" cap="all" dirty="0"/>
          </a:p>
          <a:p>
            <a:endParaRPr lang="en-US" sz="2600" cap="all" dirty="0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Determine the Purpose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73579" y="4068536"/>
            <a:ext cx="3505200" cy="23195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1981200" y="3768923"/>
            <a:ext cx="9236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BEFORE</a:t>
            </a:r>
            <a:endParaRPr lang="en-US" sz="14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72200" y="3567162"/>
            <a:ext cx="2000250" cy="3076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8228115" y="4951510"/>
            <a:ext cx="7729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FT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878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33400" y="1123414"/>
            <a:ext cx="82296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It </a:t>
            </a:r>
            <a:r>
              <a:rPr lang="en-US" sz="2800" dirty="0" smtClean="0"/>
              <a:t>is </a:t>
            </a:r>
            <a:r>
              <a:rPr lang="en-US" sz="2800" dirty="0" smtClean="0"/>
              <a:t>hard </a:t>
            </a:r>
            <a:r>
              <a:rPr lang="en-US" sz="2800" dirty="0" smtClean="0"/>
              <a:t>to understand what we cannot </a:t>
            </a:r>
            <a:r>
              <a:rPr lang="en-US" sz="2800" dirty="0" smtClean="0"/>
              <a:t>se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It </a:t>
            </a:r>
            <a:r>
              <a:rPr lang="en-US" sz="2800" dirty="0" smtClean="0"/>
              <a:t>makes customer demand </a:t>
            </a:r>
            <a:r>
              <a:rPr lang="en-US" sz="2800" dirty="0" smtClean="0"/>
              <a:t>visu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It </a:t>
            </a:r>
            <a:r>
              <a:rPr lang="en-US" sz="2800" dirty="0" smtClean="0"/>
              <a:t>allows for level loading across the team to balance work</a:t>
            </a:r>
          </a:p>
          <a:p>
            <a:endParaRPr lang="en-US" sz="2800" dirty="0" smtClean="0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Why Visualize </a:t>
            </a:r>
            <a:r>
              <a:rPr lang="en-US" dirty="0" smtClean="0"/>
              <a:t>Your Work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4038600"/>
            <a:ext cx="6096000" cy="25823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31548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-76200"/>
            <a:ext cx="9744655" cy="7010400"/>
          </a:xfrm>
          <a:prstGeom prst="rect">
            <a:avLst/>
          </a:prstGeom>
        </p:spPr>
      </p:pic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44884" y="1675"/>
            <a:ext cx="8254232" cy="11430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sz="6000" dirty="0" smtClean="0"/>
              <a:t>A pause for questions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1011061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76200" y="1828800"/>
            <a:ext cx="2133600" cy="25781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Communities of Practice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More than 50 agency </a:t>
            </a:r>
            <a:r>
              <a:rPr lang="en-US" dirty="0"/>
              <a:t>a</a:t>
            </a:r>
            <a:r>
              <a:rPr lang="en-US" dirty="0" smtClean="0"/>
              <a:t>dvisor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1000+ agency practitioners</a:t>
            </a:r>
            <a:endParaRPr lang="en-US" dirty="0"/>
          </a:p>
        </p:txBody>
      </p:sp>
      <p:sp>
        <p:nvSpPr>
          <p:cNvPr id="57" name="Rounded Rectangle 56"/>
          <p:cNvSpPr/>
          <p:nvPr/>
        </p:nvSpPr>
        <p:spPr>
          <a:xfrm>
            <a:off x="2003323" y="2756358"/>
            <a:ext cx="2340077" cy="31397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Fellowship Program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/>
              <a:t>5</a:t>
            </a:r>
            <a:r>
              <a:rPr lang="en-US" dirty="0" smtClean="0"/>
              <a:t> fellows on loan from state agencies for 1 year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learning and coaching experience</a:t>
            </a:r>
            <a:endParaRPr lang="en-US" dirty="0"/>
          </a:p>
        </p:txBody>
      </p:sp>
      <p:sp>
        <p:nvSpPr>
          <p:cNvPr id="56" name="Rounded Rectangle 55"/>
          <p:cNvSpPr/>
          <p:nvPr/>
        </p:nvSpPr>
        <p:spPr>
          <a:xfrm>
            <a:off x="4132006" y="1911014"/>
            <a:ext cx="2514600" cy="358139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Ins="45720" rtlCol="0" anchor="ctr"/>
          <a:lstStyle/>
          <a:p>
            <a:pPr algn="ctr"/>
            <a:r>
              <a:rPr lang="en-US" sz="2000" b="1" dirty="0" smtClean="0"/>
              <a:t>Lean Expert Partnership Program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private-sector partner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/>
              <a:t>p</a:t>
            </a:r>
            <a:r>
              <a:rPr lang="en-US" dirty="0" smtClean="0"/>
              <a:t>rovide advice, coaching, training, and tour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231 partners 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106 organizations</a:t>
            </a:r>
            <a:endParaRPr lang="en-US" dirty="0"/>
          </a:p>
        </p:txBody>
      </p:sp>
      <p:sp>
        <p:nvSpPr>
          <p:cNvPr id="55" name="Rounded Rectangle 54"/>
          <p:cNvSpPr/>
          <p:nvPr/>
        </p:nvSpPr>
        <p:spPr>
          <a:xfrm>
            <a:off x="6553200" y="2480302"/>
            <a:ext cx="2438400" cy="369189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/>
              <a:t>Lean Conference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free to state employee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4</a:t>
            </a:r>
            <a:r>
              <a:rPr lang="en-US" baseline="30000" dirty="0" smtClean="0"/>
              <a:t>th</a:t>
            </a:r>
            <a:r>
              <a:rPr lang="en-US" dirty="0" smtClean="0"/>
              <a:t> annual conference last month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2,000+ attendees</a:t>
            </a:r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dirty="0" smtClean="0"/>
              <a:t>40+ expert-led workshops</a:t>
            </a:r>
            <a:endParaRPr lang="en-US" dirty="0"/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dirty="0" smtClean="0"/>
              <a:t>Lean Culture in State Gover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517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chemeClr val="tx1"/>
                </a:solidFill>
              </a:rPr>
              <a:t>Resource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76200" y="990600"/>
            <a:ext cx="8991600" cy="6124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571500" lvl="1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 smtClean="0">
                <a:latin typeface="Arial Narrow" panose="020B0606020202030204" pitchFamily="34" charset="0"/>
              </a:rPr>
              <a:t>Website </a:t>
            </a:r>
            <a:r>
              <a:rPr lang="en-US" sz="2800" dirty="0" smtClean="0">
                <a:latin typeface="Arial Narrow" panose="020B0606020202030204" pitchFamily="34" charset="0"/>
                <a:hlinkClick r:id="rId3"/>
              </a:rPr>
              <a:t>www.results.wa.gov</a:t>
            </a:r>
            <a:r>
              <a:rPr lang="en-US" sz="2800" dirty="0" smtClean="0">
                <a:latin typeface="Arial Narrow" panose="020B0606020202030204" pitchFamily="34" charset="0"/>
              </a:rPr>
              <a:t> </a:t>
            </a:r>
          </a:p>
          <a:p>
            <a:pPr marL="1714500" lvl="3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endParaRPr lang="en-US" sz="2800" dirty="0" smtClean="0">
              <a:latin typeface="Arial Narrow" panose="020B0606020202030204" pitchFamily="34" charset="0"/>
            </a:endParaRPr>
          </a:p>
          <a:p>
            <a:pPr marL="1714500" lvl="3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endParaRPr lang="en-US" sz="2800" dirty="0">
              <a:latin typeface="Arial Narrow" panose="020B0606020202030204" pitchFamily="34" charset="0"/>
            </a:endParaRPr>
          </a:p>
          <a:p>
            <a:pPr marL="1714500" lvl="3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endParaRPr lang="en-US" sz="2800" dirty="0" smtClean="0">
              <a:latin typeface="Arial Narrow" panose="020B0606020202030204" pitchFamily="34" charset="0"/>
            </a:endParaRPr>
          </a:p>
          <a:p>
            <a:pPr marL="1714500" lvl="3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endParaRPr lang="en-US" sz="2800" dirty="0">
              <a:latin typeface="Arial Narrow" panose="020B0606020202030204" pitchFamily="34" charset="0"/>
            </a:endParaRPr>
          </a:p>
          <a:p>
            <a:pPr marL="571500" lvl="1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endParaRPr lang="en-US" sz="2800" dirty="0" smtClean="0">
              <a:latin typeface="Arial Narrow" panose="020B0606020202030204" pitchFamily="34" charset="0"/>
            </a:endParaRPr>
          </a:p>
          <a:p>
            <a:pPr marL="571500" lvl="1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endParaRPr lang="en-US" sz="1600" dirty="0" smtClean="0">
              <a:latin typeface="Arial Narrow" panose="020B0606020202030204" pitchFamily="34" charset="0"/>
            </a:endParaRPr>
          </a:p>
          <a:p>
            <a:pPr marL="571500" lvl="1" indent="-457200" algn="l">
              <a:spcBef>
                <a:spcPts val="6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 smtClean="0">
                <a:latin typeface="Arial Narrow" panose="020B0606020202030204" pitchFamily="34" charset="0"/>
              </a:rPr>
              <a:t>Lean </a:t>
            </a:r>
            <a:r>
              <a:rPr lang="en-US" sz="2800" dirty="0">
                <a:latin typeface="Arial Narrow" panose="020B0606020202030204" pitchFamily="34" charset="0"/>
              </a:rPr>
              <a:t>community of practice: To sign up, send an email to </a:t>
            </a:r>
            <a:r>
              <a:rPr lang="en-US" sz="2800" dirty="0" smtClean="0">
                <a:latin typeface="Arial Narrow" panose="020B0606020202030204" pitchFamily="34" charset="0"/>
                <a:hlinkClick r:id="rId4"/>
              </a:rPr>
              <a:t>Results@gov.wa.gov</a:t>
            </a:r>
            <a:endParaRPr lang="en-US" sz="2800" dirty="0">
              <a:latin typeface="Arial Narrow" panose="020B060602020203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0320" y="1586471"/>
            <a:ext cx="5849936" cy="4204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val 3"/>
          <p:cNvSpPr/>
          <p:nvPr/>
        </p:nvSpPr>
        <p:spPr bwMode="gray">
          <a:xfrm>
            <a:off x="5667150" y="1948544"/>
            <a:ext cx="1735136" cy="381000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1650320" y="4572000"/>
            <a:ext cx="1913616" cy="1143000"/>
          </a:xfrm>
          <a:prstGeom prst="ellipse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819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 txBox="1">
            <a:spLocks/>
          </p:cNvSpPr>
          <p:nvPr/>
        </p:nvSpPr>
        <p:spPr>
          <a:xfrm>
            <a:off x="989012" y="1516774"/>
            <a:ext cx="3811588" cy="639762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went well?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 Placeholder 8"/>
          <p:cNvSpPr txBox="1">
            <a:spLocks/>
          </p:cNvSpPr>
          <p:nvPr/>
        </p:nvSpPr>
        <p:spPr>
          <a:xfrm>
            <a:off x="5178515" y="1989218"/>
            <a:ext cx="3813085" cy="6397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needs to be improved?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069" y="2740105"/>
            <a:ext cx="3657600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http://blogs-images.forbes.com/deborahljacobs/files/2014/06/0628_moving-up-improving_416x416-300x30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2545" y="2705100"/>
            <a:ext cx="3238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431800" y="171544"/>
            <a:ext cx="8243888" cy="742856"/>
          </a:xfrm>
        </p:spPr>
        <p:txBody>
          <a:bodyPr/>
          <a:lstStyle/>
          <a:p>
            <a:r>
              <a:rPr lang="en-US" sz="2800" dirty="0" smtClean="0">
                <a:solidFill>
                  <a:schemeClr val="tx1"/>
                </a:solidFill>
              </a:rPr>
              <a:t>Reflecting on Today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8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979716"/>
            <a:ext cx="8382000" cy="57912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vernor Inslee’s Strategic </a:t>
            </a:r>
            <a:r>
              <a:rPr lang="en-US" dirty="0"/>
              <a:t>Framework</a:t>
            </a:r>
          </a:p>
        </p:txBody>
      </p:sp>
    </p:spTree>
    <p:extLst>
      <p:ext uri="{BB962C8B-B14F-4D97-AF65-F5344CB8AC3E}">
        <p14:creationId xmlns:p14="http://schemas.microsoft.com/office/powerpoint/2010/main" val="7191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-76200"/>
            <a:ext cx="9744655" cy="7010400"/>
          </a:xfrm>
          <a:prstGeom prst="rect">
            <a:avLst/>
          </a:prstGeom>
        </p:spPr>
      </p:pic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44884" y="1675"/>
            <a:ext cx="8254232" cy="11430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sz="6000" dirty="0" smtClean="0"/>
              <a:t>Final questions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23880302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3"/>
          <p:cNvSpPr>
            <a:spLocks/>
          </p:cNvSpPr>
          <p:nvPr/>
        </p:nvSpPr>
        <p:spPr bwMode="auto">
          <a:xfrm>
            <a:off x="1998018" y="187524"/>
            <a:ext cx="7134820" cy="678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endParaRPr lang="en-US" altLang="en-US" sz="4000" b="1" dirty="0">
              <a:solidFill>
                <a:srgbClr val="205495"/>
              </a:solidFill>
              <a:latin typeface="Helvetica" charset="0"/>
              <a:cs typeface="Helvetica" charset="0"/>
              <a:sym typeface="Helvetica" charset="0"/>
            </a:endParaRPr>
          </a:p>
        </p:txBody>
      </p:sp>
      <p:sp>
        <p:nvSpPr>
          <p:cNvPr id="2054" name="Rectangle 5"/>
          <p:cNvSpPr>
            <a:spLocks/>
          </p:cNvSpPr>
          <p:nvPr/>
        </p:nvSpPr>
        <p:spPr bwMode="auto">
          <a:xfrm>
            <a:off x="3741539" y="2221319"/>
            <a:ext cx="8036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endParaRPr lang="en-US" altLang="en-US" sz="800" dirty="0">
              <a:latin typeface="Times" charset="0"/>
              <a:cs typeface="Times" charset="0"/>
              <a:sym typeface="Times" charset="0"/>
            </a:endParaRPr>
          </a:p>
          <a:p>
            <a:pPr eaLnBrk="1" hangingPunct="1"/>
            <a:endParaRPr lang="en-US" altLang="en-US" sz="3000" dirty="0">
              <a:ea typeface="Gill Sans" charset="0"/>
              <a:cs typeface="Gill Sans" charset="0"/>
            </a:endParaRPr>
          </a:p>
        </p:txBody>
      </p:sp>
      <p:sp>
        <p:nvSpPr>
          <p:cNvPr id="2055" name="TextBox 1"/>
          <p:cNvSpPr txBox="1">
            <a:spLocks noChangeArrowheads="1"/>
          </p:cNvSpPr>
          <p:nvPr/>
        </p:nvSpPr>
        <p:spPr bwMode="auto">
          <a:xfrm>
            <a:off x="381000" y="304800"/>
            <a:ext cx="8229600" cy="5851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91" tIns="32146" rIns="64291" bIns="32146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 eaLnBrk="1" hangingPunct="1"/>
            <a:r>
              <a:rPr lang="en-US" alt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For more information:</a:t>
            </a:r>
          </a:p>
          <a:p>
            <a:pPr algn="l" eaLnBrk="1" hangingPunct="1"/>
            <a:endParaRPr lang="en-US" altLang="en-US" sz="3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KayLyne Newell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360.902.0849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altLang="en-US" sz="28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k</a:t>
            </a:r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aylyne.newell@gov.wa.gov</a:t>
            </a:r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/>
            <a:endParaRPr lang="en-US" altLang="en-US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odd MacDonald</a:t>
            </a:r>
          </a:p>
          <a:p>
            <a:pPr algn="l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Todd.macdonald@gov.wa.gov</a:t>
            </a:r>
            <a:endParaRPr lang="en-US" altLang="en-US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  <a:hlinkClick r:id="rId6"/>
            </a:endParaRPr>
          </a:p>
          <a:p>
            <a:pPr algn="l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results@gov.wa.gov</a:t>
            </a:r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altLang="en-US" sz="2800" dirty="0" smtClean="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results.wa.gov</a:t>
            </a:r>
            <a:endParaRPr lang="en-US" altLang="en-US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endParaRPr lang="en-US" alt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914" y="1676400"/>
            <a:ext cx="2511772" cy="3493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084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ndAc>
          <p:stSnd>
            <p:snd r:embed="rId3" name="applause.wav"/>
          </p:stSnd>
        </p:sndAc>
      </p:transition>
    </mc:Choice>
    <mc:Fallback xmlns="">
      <p:transition spd="slow">
        <p:sndAc>
          <p:stSnd>
            <p:snd r:embed="rId9" name="applause.wav"/>
          </p:stSnd>
        </p:sndAc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ffective, Efficient, Accountable Government</a:t>
            </a:r>
            <a:endParaRPr lang="en-US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62" y="966288"/>
            <a:ext cx="9048694" cy="5859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4409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713555" y="1373188"/>
            <a:ext cx="1691489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800" dirty="0" smtClean="0">
                <a:solidFill>
                  <a:schemeClr val="tx2"/>
                </a:solidFill>
                <a:latin typeface="Arial Black" panose="020B0A04020102020204" pitchFamily="34" charset="0"/>
              </a:rPr>
              <a:t>53</a:t>
            </a:r>
            <a:endParaRPr lang="en-US" sz="8800" dirty="0">
              <a:solidFill>
                <a:schemeClr val="tx2"/>
              </a:solidFill>
              <a:latin typeface="Arial Black" panose="020B0A04020102020204" pitchFamily="34" charset="0"/>
            </a:endParaRPr>
          </a:p>
        </p:txBody>
      </p:sp>
      <p:pic>
        <p:nvPicPr>
          <p:cNvPr id="4" name="Picture 5" descr="C:\Users\DarrellD\AppData\Local\Temp\SNAGHTML9188f0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3563478"/>
            <a:ext cx="8458200" cy="2380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wn Arrow 4"/>
          <p:cNvSpPr/>
          <p:nvPr/>
        </p:nvSpPr>
        <p:spPr>
          <a:xfrm>
            <a:off x="812681" y="3174425"/>
            <a:ext cx="470019" cy="33077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own Arrow 5"/>
          <p:cNvSpPr/>
          <p:nvPr/>
        </p:nvSpPr>
        <p:spPr>
          <a:xfrm>
            <a:off x="2336681" y="3174425"/>
            <a:ext cx="470019" cy="33077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own Arrow 6"/>
          <p:cNvSpPr/>
          <p:nvPr/>
        </p:nvSpPr>
        <p:spPr>
          <a:xfrm>
            <a:off x="4089281" y="3174425"/>
            <a:ext cx="470019" cy="33077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/>
          <p:cNvSpPr/>
          <p:nvPr/>
        </p:nvSpPr>
        <p:spPr>
          <a:xfrm>
            <a:off x="5689481" y="3174425"/>
            <a:ext cx="470019" cy="33077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own Arrow 8"/>
          <p:cNvSpPr/>
          <p:nvPr/>
        </p:nvSpPr>
        <p:spPr>
          <a:xfrm>
            <a:off x="7594481" y="3174425"/>
            <a:ext cx="470019" cy="330775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68300" y="2615625"/>
            <a:ext cx="8458200" cy="52322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tx2"/>
                </a:solidFill>
                <a:latin typeface="Arial Black" panose="020B0A04020102020204" pitchFamily="34" charset="0"/>
              </a:rPr>
              <a:t>State Agencies, Boards &amp; Commissions</a:t>
            </a:r>
            <a:endParaRPr lang="en-US" sz="7200" dirty="0">
              <a:solidFill>
                <a:schemeClr val="tx2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 Washington Goal Counci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967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Robust </a:t>
            </a:r>
            <a:r>
              <a:rPr lang="en-US" dirty="0">
                <a:solidFill>
                  <a:schemeClr val="tx1"/>
                </a:solidFill>
              </a:rPr>
              <a:t>System of Performance</a:t>
            </a:r>
          </a:p>
        </p:txBody>
      </p:sp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4108464199"/>
              </p:ext>
            </p:extLst>
          </p:nvPr>
        </p:nvGraphicFramePr>
        <p:xfrm>
          <a:off x="-1447800" y="1066800"/>
          <a:ext cx="11887200" cy="5943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567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959842"/>
            <a:ext cx="9144000" cy="589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3658" y="171544"/>
            <a:ext cx="8447088" cy="742856"/>
          </a:xfrm>
        </p:spPr>
        <p:txBody>
          <a:bodyPr/>
          <a:lstStyle/>
          <a:p>
            <a:r>
              <a:rPr lang="en-US" sz="2800" dirty="0" smtClean="0">
                <a:solidFill>
                  <a:schemeClr val="tx1"/>
                </a:solidFill>
              </a:rPr>
              <a:t>Measure Maps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3028950" y="3429000"/>
            <a:ext cx="2914650" cy="1726913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lIns="64291" tIns="32146" rIns="64291" bIns="32146" rtlCol="0">
            <a:spAutoFit/>
          </a:bodyPr>
          <a:lstStyle/>
          <a:p>
            <a:r>
              <a:rPr lang="en-US" dirty="0" smtClean="0"/>
              <a:t>1.2.e</a:t>
            </a:r>
            <a:r>
              <a:rPr lang="en-US" dirty="0"/>
              <a:t>. Decrease percentage of recent high school graduates enrolled in pre-college or remedial courses in college from 40% to 35% by 2017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71800" y="1875085"/>
            <a:ext cx="3581400" cy="117291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lIns="64291" tIns="32146" rIns="64291" bIns="32146" rtlCol="0">
            <a:spAutoFit/>
          </a:bodyPr>
          <a:lstStyle/>
          <a:p>
            <a:r>
              <a:rPr lang="en-US" dirty="0" smtClean="0"/>
              <a:t>1.2</a:t>
            </a:r>
            <a:r>
              <a:rPr lang="en-US" dirty="0"/>
              <a:t>. Increase percentage of students who graduate high school by 2 percentage points average from 2013 to 2018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24599" y="3581400"/>
            <a:ext cx="2828925" cy="20039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lIns="64291" tIns="32146" rIns="64291" bIns="32146" rtlCol="0">
            <a:spAutoFit/>
          </a:bodyPr>
          <a:lstStyle/>
          <a:p>
            <a:r>
              <a:rPr lang="en-US" dirty="0" smtClean="0"/>
              <a:t>1.3.f</a:t>
            </a:r>
            <a:r>
              <a:rPr lang="en-US" dirty="0"/>
              <a:t>. Increase number of students enrolled in STEM and identified high-demand employment programs in public 4-year colleges from 31,282 to 32,642 by 2016-17</a:t>
            </a:r>
          </a:p>
        </p:txBody>
      </p:sp>
    </p:spTree>
    <p:extLst>
      <p:ext uri="{BB962C8B-B14F-4D97-AF65-F5344CB8AC3E}">
        <p14:creationId xmlns:p14="http://schemas.microsoft.com/office/powerpoint/2010/main" val="2927330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-76200"/>
            <a:ext cx="9744655" cy="7010400"/>
          </a:xfrm>
          <a:prstGeom prst="rect">
            <a:avLst/>
          </a:prstGeom>
        </p:spPr>
      </p:pic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444884" y="1675"/>
            <a:ext cx="8254232" cy="114300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sz="6000" dirty="0" smtClean="0"/>
              <a:t>A pause for questions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1065197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TextBox 1"/>
          <p:cNvSpPr txBox="1">
            <a:spLocks noChangeArrowheads="1"/>
          </p:cNvSpPr>
          <p:nvPr/>
        </p:nvSpPr>
        <p:spPr bwMode="auto">
          <a:xfrm>
            <a:off x="1556050" y="2438400"/>
            <a:ext cx="6021643" cy="3512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4291" tIns="32146" rIns="64291" bIns="32146">
            <a:spAutoFit/>
          </a:bodyPr>
          <a:lstStyle>
            <a:lvl1pPr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algn="ctr"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endParaRPr lang="en-US" altLang="en-US" sz="4400" b="1" dirty="0" smtClean="0">
              <a:latin typeface="Arial Narrow" panose="020B0606020202030204" pitchFamily="34" charset="0"/>
            </a:endParaRPr>
          </a:p>
          <a:p>
            <a:pPr eaLnBrk="1" hangingPunct="1"/>
            <a:r>
              <a:rPr lang="en-US" altLang="en-US" sz="4400" b="1" dirty="0" smtClean="0">
                <a:latin typeface="Arial Narrow" panose="020B0606020202030204" pitchFamily="34" charset="0"/>
              </a:rPr>
              <a:t>Lean in State Government</a:t>
            </a:r>
          </a:p>
          <a:p>
            <a:pPr eaLnBrk="1" hangingPunct="1"/>
            <a:endParaRPr lang="en-US" altLang="en-US" sz="2400" b="1" dirty="0">
              <a:latin typeface="Arial Narrow" panose="020B0606020202030204" pitchFamily="34" charset="0"/>
            </a:endParaRPr>
          </a:p>
          <a:p>
            <a:r>
              <a:rPr lang="en-US" sz="3200" b="1" dirty="0">
                <a:latin typeface="Arial Narrow" panose="020B0606020202030204" pitchFamily="34" charset="0"/>
              </a:rPr>
              <a:t>Every employee is a problem solver. </a:t>
            </a:r>
          </a:p>
          <a:p>
            <a:r>
              <a:rPr lang="en-US" sz="3200" b="1" dirty="0">
                <a:latin typeface="Arial Narrow" panose="020B0606020202030204" pitchFamily="34" charset="0"/>
              </a:rPr>
              <a:t>Every leader is a coach</a:t>
            </a:r>
            <a:r>
              <a:rPr lang="en-US" b="1" dirty="0">
                <a:latin typeface="Arial Narrow" panose="020B0606020202030204" pitchFamily="34" charset="0"/>
              </a:rPr>
              <a:t>.</a:t>
            </a:r>
          </a:p>
          <a:p>
            <a:pPr eaLnBrk="1" hangingPunct="1"/>
            <a:endParaRPr lang="en-US" altLang="en-US" sz="4400" b="1" dirty="0" smtClean="0">
              <a:latin typeface="Arial Narrow" panose="020B060602020203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359" y="228599"/>
            <a:ext cx="3777027" cy="251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89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76024" y="1905000"/>
            <a:ext cx="8229600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-457200">
              <a:spcAft>
                <a:spcPts val="1200"/>
              </a:spcAft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adapt Lean 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inking 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inciples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and tool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to state government operations so we can create a way of working that:</a:t>
            </a:r>
          </a:p>
          <a:p>
            <a:pPr marL="457200" lvl="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delivers better value to more Washingtonians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or generations to come</a:t>
            </a:r>
          </a:p>
          <a:p>
            <a:pPr marL="457200" lvl="0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kes 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ublic service a deeply gratifying experience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or employees.</a:t>
            </a:r>
          </a:p>
          <a:p>
            <a:endParaRPr lang="en-US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>
                <a:solidFill>
                  <a:schemeClr val="tx1"/>
                </a:solidFill>
              </a:rPr>
              <a:t>The Lean </a:t>
            </a:r>
            <a:r>
              <a:rPr lang="en-US" sz="3200" dirty="0" smtClean="0">
                <a:solidFill>
                  <a:schemeClr val="tx1"/>
                </a:solidFill>
              </a:rPr>
              <a:t>Vision</a:t>
            </a:r>
            <a:endParaRPr lang="en-US" sz="3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523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esults W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25486"/>
      </a:accent1>
      <a:accent2>
        <a:srgbClr val="729F42"/>
      </a:accent2>
      <a:accent3>
        <a:srgbClr val="F96D0F"/>
      </a:accent3>
      <a:accent4>
        <a:srgbClr val="8064A2"/>
      </a:accent4>
      <a:accent5>
        <a:srgbClr val="7F7F7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ccenture Management Consulting Seedling">
  <a:themeElements>
    <a:clrScheme name="Results W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25486"/>
      </a:accent1>
      <a:accent2>
        <a:srgbClr val="729F42"/>
      </a:accent2>
      <a:accent3>
        <a:srgbClr val="F96D0F"/>
      </a:accent3>
      <a:accent4>
        <a:srgbClr val="8064A2"/>
      </a:accent4>
      <a:accent5>
        <a:srgbClr val="7F7F7F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_dlc_DocId xmlns="ab5d7b00-834a-4efe-8968-9d97478a3691">EWUPACEUPKES-170-11373</_dlc_DocId>
    <_dlc_DocIdUrl xmlns="ab5d7b00-834a-4efe-8968-9d97478a3691">
      <Url>http://stage-des/_layouts/DocIdRedir.aspx?ID=EWUPACEUPKES-170-11373</Url>
      <Description>EWUPACEUPKES-170-11373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41A54BADD08F46A25A439CA5113C81" ma:contentTypeVersion="2" ma:contentTypeDescription="Create a new document." ma:contentTypeScope="" ma:versionID="b0572839a5f1b379d340e89a57fe4ebe">
  <xsd:schema xmlns:xsd="http://www.w3.org/2001/XMLSchema" xmlns:xs="http://www.w3.org/2001/XMLSchema" xmlns:p="http://schemas.microsoft.com/office/2006/metadata/properties" xmlns:ns1="http://schemas.microsoft.com/sharepoint/v3" xmlns:ns2="ab5d7b00-834a-4efe-8968-9d97478a3691" targetNamespace="http://schemas.microsoft.com/office/2006/metadata/properties" ma:root="true" ma:fieldsID="b8b80030ab68ff9f9ef10e2a8494e4c4" ns1:_="" ns2:_="">
    <xsd:import namespace="http://schemas.microsoft.com/sharepoint/v3"/>
    <xsd:import namespace="ab5d7b00-834a-4efe-8968-9d97478a369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5d7b00-834a-4efe-8968-9d97478a3691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15AB02-C28C-4241-81C4-B98CC71234A4}"/>
</file>

<file path=customXml/itemProps2.xml><?xml version="1.0" encoding="utf-8"?>
<ds:datastoreItem xmlns:ds="http://schemas.openxmlformats.org/officeDocument/2006/customXml" ds:itemID="{5863C61D-3A9B-409B-9B74-8EC84A845E79}"/>
</file>

<file path=customXml/itemProps3.xml><?xml version="1.0" encoding="utf-8"?>
<ds:datastoreItem xmlns:ds="http://schemas.openxmlformats.org/officeDocument/2006/customXml" ds:itemID="{AF9D0DFF-72B0-4057-9B32-E17A0AD5D599}"/>
</file>

<file path=customXml/itemProps4.xml><?xml version="1.0" encoding="utf-8"?>
<ds:datastoreItem xmlns:ds="http://schemas.openxmlformats.org/officeDocument/2006/customXml" ds:itemID="{9C6B1630-331F-4D9C-B586-466E35C6F4AC}"/>
</file>

<file path=docProps/app.xml><?xml version="1.0" encoding="utf-8"?>
<Properties xmlns="http://schemas.openxmlformats.org/officeDocument/2006/extended-properties" xmlns:vt="http://schemas.openxmlformats.org/officeDocument/2006/docPropsVTypes">
  <TotalTime>3335</TotalTime>
  <Words>1380</Words>
  <Application>Microsoft Office PowerPoint</Application>
  <PresentationFormat>On-screen Show (4:3)</PresentationFormat>
  <Paragraphs>245</Paragraphs>
  <Slides>32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6" baseType="lpstr">
      <vt:lpstr>Arial</vt:lpstr>
      <vt:lpstr>Arial Black</vt:lpstr>
      <vt:lpstr>Arial Narrow</vt:lpstr>
      <vt:lpstr>Calibri</vt:lpstr>
      <vt:lpstr>Gill Sans</vt:lpstr>
      <vt:lpstr>Gill Sans MT</vt:lpstr>
      <vt:lpstr>Helvetica</vt:lpstr>
      <vt:lpstr>ＭＳ Ｐゴシック</vt:lpstr>
      <vt:lpstr>Times</vt:lpstr>
      <vt:lpstr>Wingdings</vt:lpstr>
      <vt:lpstr>ヒラギノ角ゴ ProN W3</vt:lpstr>
      <vt:lpstr>Office Theme</vt:lpstr>
      <vt:lpstr>Accenture Management Consulting Seedling</vt:lpstr>
      <vt:lpstr>think-cell Slide</vt:lpstr>
      <vt:lpstr>PowerPoint Presentation</vt:lpstr>
      <vt:lpstr>Agenda for Today</vt:lpstr>
      <vt:lpstr>Governor Inslee’s Strategic Framework</vt:lpstr>
      <vt:lpstr>Results Washington Goal Councils</vt:lpstr>
      <vt:lpstr>Robust System of Performance</vt:lpstr>
      <vt:lpstr>Measure Maps</vt:lpstr>
      <vt:lpstr>PowerPoint Presentation</vt:lpstr>
      <vt:lpstr>PowerPoint Presentation</vt:lpstr>
      <vt:lpstr>The Lean Vision</vt:lpstr>
      <vt:lpstr>What is “Lean Thinking”</vt:lpstr>
      <vt:lpstr>What is Lean?</vt:lpstr>
      <vt:lpstr>Lean Waste</vt:lpstr>
      <vt:lpstr>Key Lean Concepts</vt:lpstr>
      <vt:lpstr>Lean Management</vt:lpstr>
      <vt:lpstr>What is a “Lean Culture”</vt:lpstr>
      <vt:lpstr>PowerPoint Presentation</vt:lpstr>
      <vt:lpstr>A tool to take home</vt:lpstr>
      <vt:lpstr>Visual Management</vt:lpstr>
      <vt:lpstr>What is Visual Management?</vt:lpstr>
      <vt:lpstr>Effective Visual Management</vt:lpstr>
      <vt:lpstr>Understanding at a Glance</vt:lpstr>
      <vt:lpstr>They don’t have to hang on a wall</vt:lpstr>
      <vt:lpstr>Standard visuals simplify things…usually</vt:lpstr>
      <vt:lpstr>Determine the Purpose</vt:lpstr>
      <vt:lpstr>Why Visualize Your Work</vt:lpstr>
      <vt:lpstr>PowerPoint Presentation</vt:lpstr>
      <vt:lpstr>Lean Culture in State Government</vt:lpstr>
      <vt:lpstr>Resources</vt:lpstr>
      <vt:lpstr>Reflecting on Today</vt:lpstr>
      <vt:lpstr>PowerPoint Presentation</vt:lpstr>
      <vt:lpstr>PowerPoint Presentation</vt:lpstr>
      <vt:lpstr>Effective, Efficient, Accountable Government</vt:lpstr>
    </vt:vector>
  </TitlesOfParts>
  <Company>State of Washingt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well, KayLyne (GOV)</dc:creator>
  <cp:lastModifiedBy>Todd MacDonald</cp:lastModifiedBy>
  <cp:revision>228</cp:revision>
  <cp:lastPrinted>2015-11-04T17:41:15Z</cp:lastPrinted>
  <dcterms:created xsi:type="dcterms:W3CDTF">2014-10-08T14:24:45Z</dcterms:created>
  <dcterms:modified xsi:type="dcterms:W3CDTF">2015-11-05T07:2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41A54BADD08F46A25A439CA5113C81</vt:lpwstr>
  </property>
  <property fmtid="{D5CDD505-2E9C-101B-9397-08002B2CF9AE}" pid="3" name="_dlc_DocIdItemGuid">
    <vt:lpwstr>7e5671b7-3b94-414b-8d7f-6e05ad12b016</vt:lpwstr>
  </property>
</Properties>
</file>